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notesSlides/notesSlide1.xml" ContentType="application/vnd.openxmlformats-officedocument.presentationml.notesSlide+xml"/>
  <Override PartName="/ppt/slideLayouts/slideLayout17.xml" ContentType="application/vnd.openxmlformats-officedocument.presentationml.slideLayout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heme/theme1.xml" ContentType="application/vnd.openxmlformats-officedocument.theme+xml"/>
  <Override PartName="/ppt/theme/theme3.xml" ContentType="application/vnd.openxmlformats-officedocument.theme+xml"/>
  <Override PartName="/ppt/theme/theme2.xml" ContentType="application/vnd.openxmlformats-officedocument.theme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revisionInfo.xml" ContentType="application/vnd.ms-powerpoint.revisioninfo+xml"/>
  <Override PartName="/docProps/core.xml" ContentType="application/vnd.openxmlformats-package.core-properti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4" r:id="rId1"/>
  </p:sldMasterIdLst>
  <p:notesMasterIdLst>
    <p:notesMasterId r:id="rId16"/>
  </p:notesMasterIdLst>
  <p:handoutMasterIdLst>
    <p:handoutMasterId r:id="rId17"/>
  </p:handoutMasterIdLst>
  <p:sldIdLst>
    <p:sldId id="334" r:id="rId2"/>
    <p:sldId id="6711" r:id="rId3"/>
    <p:sldId id="6718" r:id="rId4"/>
    <p:sldId id="6408" r:id="rId5"/>
    <p:sldId id="6684" r:id="rId6"/>
    <p:sldId id="6411" r:id="rId7"/>
    <p:sldId id="6414" r:id="rId8"/>
    <p:sldId id="6717" r:id="rId9"/>
    <p:sldId id="6708" r:id="rId10"/>
    <p:sldId id="6710" r:id="rId11"/>
    <p:sldId id="6681" r:id="rId12"/>
    <p:sldId id="6687" r:id="rId13"/>
    <p:sldId id="6682" r:id="rId14"/>
    <p:sldId id="6407" r:id="rId15"/>
  </p:sldIdLst>
  <p:sldSz cx="12192000" cy="6858000"/>
  <p:notesSz cx="6858000" cy="9144000"/>
  <p:defaultTextStyle>
    <a:defPPr>
      <a:defRPr lang="es-C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4BCC7AD-8A63-4969-9FD4-4C1A77E2F315}" v="32" dt="2025-04-04T02:11:26.85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788" autoAdjust="0"/>
    <p:restoredTop sz="96178"/>
  </p:normalViewPr>
  <p:slideViewPr>
    <p:cSldViewPr snapToGrid="0">
      <p:cViewPr varScale="1">
        <p:scale>
          <a:sx n="78" d="100"/>
          <a:sy n="78" d="100"/>
        </p:scale>
        <p:origin x="1166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72" d="100"/>
          <a:sy n="72" d="100"/>
        </p:scale>
        <p:origin x="3010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5" Type="http://schemas.openxmlformats.org/officeDocument/2006/relationships/customXml" Target="../customXml/item3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customXml" Target="../customXml/item2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customXml" Target="../customXml/item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microsoft.com/office/2015/10/relationships/revisionInfo" Target="revisionInfo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648EB66C-9226-EF9E-079F-EA91235F090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516680B4-A958-ECAC-A913-6908EC75F79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4DB90A-BCD6-49B1-AE36-FCE3114185BD}" type="datetimeFigureOut">
              <a:rPr lang="es-CO" smtClean="0"/>
              <a:t>3/04/2025</a:t>
            </a:fld>
            <a:endParaRPr lang="es-CO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B1477AEF-6B5D-7C46-0545-040518C8A05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03C491E9-1DC8-16A3-DFA2-5B81F623E72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A3ACD1-16E4-4882-BE78-A7B253EA151D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87145213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FB33C5F-B7C6-1D4C-A991-3F856C13B2DE}" type="datetimeFigureOut">
              <a:rPr lang="pt-BR" smtClean="0"/>
              <a:t>03/04/2025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C551C5-FF47-D84D-83C8-1BE1FA1DD99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042028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D57747-25DC-4840-99E6-71F41D221489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27811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8606E2-21F9-E2A5-0D30-A63B7F3ADC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8A5382FC-D75F-8F7A-AE1D-3F529E19B0B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C3B48093-4AD2-21EF-FB12-365C35F26E5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56AFD75F-DCC0-3B43-22FE-9B33E09FCF2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D57747-25DC-4840-99E6-71F41D221489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3440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D57747-25DC-4840-99E6-71F41D221489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92237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D57747-25DC-4840-99E6-71F41D221489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68433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D57747-25DC-4840-99E6-71F41D221489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01307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Imagen 18">
            <a:extLst>
              <a:ext uri="{FF2B5EF4-FFF2-40B4-BE49-F238E27FC236}">
                <a16:creationId xmlns:a16="http://schemas.microsoft.com/office/drawing/2014/main" id="{103371A3-0BCD-C08C-226A-8E4E8BDC983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886" y="0"/>
            <a:ext cx="1215822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6117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7A083ED4-169D-57B0-C41F-00153D22B4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D3BAB-508E-4187-B7D3-7948355F2F08}" type="datetime1">
              <a:rPr lang="es-CO" smtClean="0"/>
              <a:t>3/04/2025</a:t>
            </a:fld>
            <a:endParaRPr lang="es-CO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F6C7C6E2-F2EB-01A2-6FBB-455B3F9624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OD Meeting Report, July 26th, 2023 - Confidential</a:t>
            </a:r>
            <a:endParaRPr lang="es-CO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CA2510BF-6F5B-42B7-9737-AC28066D0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279CBC-B292-40E9-B1BF-CB5F5D21536A}" type="slidenum">
              <a:rPr lang="es-CO" smtClean="0"/>
              <a:t>‹nº›</a:t>
            </a:fld>
            <a:endParaRPr lang="es-CO"/>
          </a:p>
        </p:txBody>
      </p:sp>
      <p:pic>
        <p:nvPicPr>
          <p:cNvPr id="6" name="Imagen 5" descr="Un tren pasando en vías al lado de una carretera&#10;&#10;Descripción generada automáticamente">
            <a:extLst>
              <a:ext uri="{FF2B5EF4-FFF2-40B4-BE49-F238E27FC236}">
                <a16:creationId xmlns:a16="http://schemas.microsoft.com/office/drawing/2014/main" id="{F3EE8E6D-60B9-24C7-D953-4F208457B3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1269"/>
            <a:ext cx="12192000" cy="65754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99329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56E2BDB1-3171-6E58-F7E2-1CDAD5DBB20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A9E7E17A-7464-B122-F482-C5AF61A1D5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8A1594-5E79-470E-BFF7-BA5F09C56820}" type="datetime1">
              <a:rPr lang="es-CO" smtClean="0"/>
              <a:t>3/04/2025</a:t>
            </a:fld>
            <a:endParaRPr lang="es-CO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0FE4364E-2271-3332-D185-836FD24F4C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OD Meeting Report, July 26th, 2023 - Confidential</a:t>
            </a:r>
            <a:endParaRPr lang="es-CO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7B8F8205-CB4E-EA66-4BC2-F6CE9B662D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279CBC-B292-40E9-B1BF-CB5F5D21536A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2296523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2">
            <a:extLst>
              <a:ext uri="{FF2B5EF4-FFF2-40B4-BE49-F238E27FC236}">
                <a16:creationId xmlns:a16="http://schemas.microsoft.com/office/drawing/2014/main" id="{6AE57A32-4392-572E-84BF-3A61A78B852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4" y="0"/>
            <a:ext cx="12191356" cy="6858000"/>
          </a:xfrm>
          <a:prstGeom prst="rect">
            <a:avLst/>
          </a:prstGeom>
        </p:spPr>
      </p:pic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A9E7E17A-7464-B122-F482-C5AF61A1D5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8A1594-5E79-470E-BFF7-BA5F09C56820}" type="datetime1">
              <a:rPr lang="es-CO" smtClean="0"/>
              <a:t>3/04/2025</a:t>
            </a:fld>
            <a:endParaRPr lang="es-CO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0FE4364E-2271-3332-D185-836FD24F4C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OD Meeting Report, July 26th, 2023 - Confidential</a:t>
            </a:r>
            <a:endParaRPr lang="es-CO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7B8F8205-CB4E-EA66-4BC2-F6CE9B662D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279CBC-B292-40E9-B1BF-CB5F5D21536A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2869158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n 12">
            <a:extLst>
              <a:ext uri="{FF2B5EF4-FFF2-40B4-BE49-F238E27FC236}">
                <a16:creationId xmlns:a16="http://schemas.microsoft.com/office/drawing/2014/main" id="{597E303C-6F3A-FCC5-9B35-00D4AFF559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B409F022-DC1B-5D1D-667D-0B4054CBBC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5557B2-ED5F-4230-A8BF-45E925CD8E34}" type="datetime1">
              <a:rPr lang="es-CO" smtClean="0"/>
              <a:t>3/04/2025</a:t>
            </a:fld>
            <a:endParaRPr lang="es-CO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515B5DF2-A87E-656F-5A09-620137733C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OD Meeting Report, July 26th, 2023 - Confidential</a:t>
            </a:r>
            <a:endParaRPr lang="es-CO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220769DF-BD14-9E8E-E73E-32EC516B9E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279CBC-B292-40E9-B1BF-CB5F5D21536A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0190622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491776CD-0E59-A2AF-DFD4-AC77633F1E0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7D78A2C9-008D-ECFA-E3D0-251D1C73CE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908A3A-899C-4A1D-9064-C40FFA971A46}" type="datetime1">
              <a:rPr lang="es-CO" smtClean="0"/>
              <a:t>3/04/2025</a:t>
            </a:fld>
            <a:endParaRPr lang="es-CO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0CD922A2-1660-F28F-F948-DDD93C043D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OD Meeting Report, July 26th, 2023 - Confidential</a:t>
            </a:r>
            <a:endParaRPr lang="es-CO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24F68A8D-F088-AA41-3B67-E6945DE1EF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279CBC-B292-40E9-B1BF-CB5F5D21536A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4160421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>
            <a:extLst>
              <a:ext uri="{FF2B5EF4-FFF2-40B4-BE49-F238E27FC236}">
                <a16:creationId xmlns:a16="http://schemas.microsoft.com/office/drawing/2014/main" id="{82D1B34E-FDD3-A046-66B6-CC76D0CCE63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8DFE4817-682C-0C7F-145A-47721AA672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EE7642-255E-421C-901B-1FB27BB91CFE}" type="datetime1">
              <a:rPr lang="es-CO" smtClean="0"/>
              <a:t>3/04/2025</a:t>
            </a:fld>
            <a:endParaRPr lang="es-CO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896050A6-EE91-3276-103E-E640FF1EFB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OD Meeting Report, July 26th, 2023 - Confidential</a:t>
            </a:r>
            <a:endParaRPr lang="es-CO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0AD0B2FC-DE39-B875-E90C-6D8E51B323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279CBC-B292-40E9-B1BF-CB5F5D21536A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9802520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>
            <a:extLst>
              <a:ext uri="{FF2B5EF4-FFF2-40B4-BE49-F238E27FC236}">
                <a16:creationId xmlns:a16="http://schemas.microsoft.com/office/drawing/2014/main" id="{1ADAA5EA-3526-387A-EEE6-19BA5542490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94247FF0-F635-B61D-48D2-5FFEF6EF92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F8790C-60DC-4F41-AB9F-118E22E94DD2}" type="datetime1">
              <a:rPr lang="es-CO" smtClean="0"/>
              <a:t>3/04/2025</a:t>
            </a:fld>
            <a:endParaRPr lang="es-CO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BE757ABD-B5AA-6694-810A-81B6C60C4A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OD Meeting Report, July 26th, 2023 - Confidential</a:t>
            </a:r>
            <a:endParaRPr lang="es-CO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99E0180D-15A2-AEA8-CB04-5085E1B89C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279CBC-B292-40E9-B1BF-CB5F5D21536A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1043758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>
            <a:extLst>
              <a:ext uri="{FF2B5EF4-FFF2-40B4-BE49-F238E27FC236}">
                <a16:creationId xmlns:a16="http://schemas.microsoft.com/office/drawing/2014/main" id="{2753FDBA-C9BA-ED50-62C9-6F103812EA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C4E8F857-1FFA-3CF1-5C1C-7A20DDE7E6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3125EC-FE6A-478E-B778-7766D66FE01F}" type="datetime1">
              <a:rPr lang="es-CO" smtClean="0"/>
              <a:t>3/04/2025</a:t>
            </a:fld>
            <a:endParaRPr lang="es-CO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837FAAE5-572C-4F96-B2CF-1A09DCB9E2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OD Meeting Report, July 26th, 2023 - Confidential</a:t>
            </a:r>
            <a:endParaRPr lang="es-CO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13F607F6-3E91-9ADE-7279-D5FA7469C7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279CBC-B292-40E9-B1BF-CB5F5D21536A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28825544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 descr="Imagen que contiene persona, hombre, vistiendo, celular&#10;&#10;Descripción generada automáticamente">
            <a:extLst>
              <a:ext uri="{FF2B5EF4-FFF2-40B4-BE49-F238E27FC236}">
                <a16:creationId xmlns:a16="http://schemas.microsoft.com/office/drawing/2014/main" id="{0A49F33D-0F5F-B4D2-924C-E4C1B0BF65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8A0E1628-C614-6AFA-DB9C-2E26CEF106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BD3A0F-636F-40C1-A12C-1C0ED6B59EC9}" type="datetime1">
              <a:rPr lang="es-CO" smtClean="0"/>
              <a:t>3/04/2025</a:t>
            </a:fld>
            <a:endParaRPr lang="es-CO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489A9DBA-5347-0736-4F1F-4B9FC36BB6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OD Meeting Report, July 26th, 2023 - Confidential</a:t>
            </a:r>
            <a:endParaRPr lang="es-CO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7AFE466F-9A16-7CD8-B8D1-7529CD3F39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279CBC-B292-40E9-B1BF-CB5F5D21536A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78098493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F28AC9D3-095E-221B-5455-CE4F430AE23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5BFD8E61-5E9A-758C-EF18-A53AD59439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527BF1-6A80-4B73-9887-1125822D98C8}" type="datetime1">
              <a:rPr lang="es-CO" smtClean="0"/>
              <a:t>3/04/2025</a:t>
            </a:fld>
            <a:endParaRPr lang="es-CO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981B962A-58A2-BFC9-5FF5-7AD8B5E9B4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OD Meeting Report, July 26th, 2023 - Confidential</a:t>
            </a:r>
            <a:endParaRPr lang="es-CO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1E9EEE8B-ACD4-0772-0C3F-1F13FB2172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279CBC-B292-40E9-B1BF-CB5F5D21536A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836557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B5D737E-1769-BA62-D8B0-F86C858FF3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E9552410-25D2-0E4F-7712-483A9B9ADD9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C31BD86A-6BF1-0715-AEC2-C2372D2C74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86EE4D-3937-46E6-9516-A4B7C6AB4B6D}" type="datetime1">
              <a:rPr lang="es-CO" smtClean="0"/>
              <a:t>3/04/2025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ABF113CB-4195-DC39-8E28-E462A444AB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OD Meeting Report, July 26th, 2023 - Confidential</a:t>
            </a:r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398CBED2-8814-9F85-B433-2F7F5E4CAB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279CBC-B292-40E9-B1BF-CB5F5D21536A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78687939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9F509E49-B986-FD2D-68F0-EA1328A9E6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10938692-A757-5456-D1E7-90FD7F9A33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A8DE66-26AB-4B20-A760-AB37084755B8}" type="datetime1">
              <a:rPr lang="es-CO" smtClean="0"/>
              <a:t>3/04/2025</a:t>
            </a:fld>
            <a:endParaRPr lang="es-CO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9BFBD898-1126-E327-EFF6-CF7BE744E6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OD Meeting Report, July 26th, 2023 - Confidential</a:t>
            </a:r>
            <a:endParaRPr lang="es-CO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CAFD72D6-4BF8-BCE0-5547-AA0090CFD8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279CBC-B292-40E9-B1BF-CB5F5D21536A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98505647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A060EED9-B43E-5196-25B9-4CAF7FED7E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081263C9-F7BD-D92C-0B74-342F044DB3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EF56A6-DB2A-4351-9A37-E281D4966C4B}" type="datetime1">
              <a:rPr lang="es-CO" smtClean="0"/>
              <a:t>3/04/2025</a:t>
            </a:fld>
            <a:endParaRPr lang="es-CO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17B03D0A-EB1E-7D9B-E991-0E698DFD7C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OD Meeting Report, July 26th, 2023 - Confidential</a:t>
            </a:r>
            <a:endParaRPr lang="es-CO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64F4D3CB-649D-FEBF-9BFA-5065F4DCB0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279CBC-B292-40E9-B1BF-CB5F5D21536A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42790959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5AE18DC9-12B4-9B9C-5F39-BC461FF21F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4F1A5A8E-FC2D-565B-ADD7-1A00FAD04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8D8E3D-7189-4CD4-B504-B6626085EA24}" type="datetime1">
              <a:rPr lang="es-CO" smtClean="0"/>
              <a:t>3/04/2025</a:t>
            </a:fld>
            <a:endParaRPr lang="es-CO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1266856E-69A8-96B5-830E-86E997B306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OD Meeting Report, July 26th, 2023 - Confidential</a:t>
            </a:r>
            <a:endParaRPr lang="es-CO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5023D89F-1F72-A588-0F0B-302A48B859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279CBC-B292-40E9-B1BF-CB5F5D21536A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8529213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8C7187D2-AA20-E5BF-8FCD-845B873452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EFAB35AD-0941-111A-D485-C72402A4AF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D9362-1EBE-44C1-B07E-14F468056061}" type="datetime1">
              <a:rPr lang="es-CO" smtClean="0"/>
              <a:t>3/04/2025</a:t>
            </a:fld>
            <a:endParaRPr lang="es-CO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1F57BC43-19DD-5BF4-6B80-5651653E33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OD Meeting Report, July 26th, 2023 - Confidential</a:t>
            </a:r>
            <a:endParaRPr lang="es-CO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3393A0DE-FC44-9F9D-8F18-774B76C0C5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279CBC-B292-40E9-B1BF-CB5F5D21536A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4285549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ED7159D0-C4DC-2313-0365-2A1B40968B1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9BEE2874-10BE-3DE0-8153-222AFD4B06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761130-0071-41BA-A4E9-DFC0737585A4}" type="datetime1">
              <a:rPr lang="es-CO" smtClean="0"/>
              <a:t>3/04/2025</a:t>
            </a:fld>
            <a:endParaRPr lang="es-CO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1173AFD2-6AB1-06B1-EABF-F8B1AD52BC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OD Meeting Report, July 26th, 2023 - Confidential</a:t>
            </a:r>
            <a:endParaRPr lang="es-CO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682DBA26-27F3-030C-F1C2-03CDC77473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279CBC-B292-40E9-B1BF-CB5F5D21536A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61664566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DBC8D2E-C59F-C477-7033-7FD9E77DC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4FCFC7D3-1796-F646-0EDC-5DE2A4500D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0B297D3C-0344-4FB9-2854-692D64BD8F7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65C4AE37-807F-9CE2-FFB3-FE58A0F1EB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7F2DE9-AA47-4574-A7C0-039D4F95D439}" type="datetime1">
              <a:rPr lang="es-CO" smtClean="0"/>
              <a:t>3/04/2025</a:t>
            </a:fld>
            <a:endParaRPr lang="es-CO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45F0A1FE-5720-7C9A-C67C-83ED0C81A6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OD Meeting Report, July 26th, 2023 - Confidential</a:t>
            </a:r>
            <a:endParaRPr lang="es-CO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5A941E23-47A2-9250-0766-893EFC6964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279CBC-B292-40E9-B1BF-CB5F5D21536A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10243998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E78F6F6-6ED0-560B-5C87-D7A03FA937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32D4CD0A-7343-76BB-5A41-7D5FF528867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O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D7E6CDCB-BBC6-B114-F5D5-1A6459F2C7F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59D0B87C-54E4-4C06-3BBE-087D3E2A0B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896EFC-9524-4BC2-A0A8-C692C0A509D4}" type="datetime1">
              <a:rPr lang="es-CO" smtClean="0"/>
              <a:t>3/04/2025</a:t>
            </a:fld>
            <a:endParaRPr lang="es-CO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880B496F-6A52-DE4A-0BB7-1E3FF4D5D1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OD Meeting Report, July 26th, 2023 - Confidential</a:t>
            </a:r>
            <a:endParaRPr lang="es-CO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FAA04461-53F3-0086-DFF0-16CA866FD0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279CBC-B292-40E9-B1BF-CB5F5D21536A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2680570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9FBB85F-D30D-D6CA-A421-3C99D32882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6F031459-E62E-9A9E-8D70-19F07BB9A09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0E771D11-E0FB-EC32-957F-F571F16194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8860DF-B557-478F-9C1D-316A46E05D0D}" type="datetime1">
              <a:rPr lang="es-CO" smtClean="0"/>
              <a:t>3/04/2025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A0144C8-A860-D3AD-205D-BF64A1D725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OD Meeting Report, July 26th, 2023 - Confidential</a:t>
            </a:r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BFBF7EA-9A70-4BA9-B4A8-27FC5B955C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279CBC-B292-40E9-B1BF-CB5F5D21536A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87888992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D15A407B-F0AB-A0EA-5BEB-2DD16D7C7AD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2CCFC929-A71B-3A4C-F6A5-0FAEFABA228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CA71E57A-41CE-4D84-D35C-92265AAEFC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4B7D37-A21A-4742-987F-024717BCFFB5}" type="datetime1">
              <a:rPr lang="es-CO" smtClean="0"/>
              <a:t>3/04/2025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299D4AB-1008-D312-9E2D-5DACB2E4F1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OD Meeting Report, July 26th, 2023 - Confidential</a:t>
            </a:r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E7746688-9384-7E11-9A81-4FD3FEFB04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279CBC-B292-40E9-B1BF-CB5F5D21536A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04343295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9F509E49-B986-FD2D-68F0-EA1328A9E6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10938692-A757-5456-D1E7-90FD7F9A33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726C4D-9D7C-4F51-A5FB-E019C52D08BC}" type="datetimeFigureOut">
              <a:rPr lang="es-CO" smtClean="0"/>
              <a:t>3/04/2025</a:t>
            </a:fld>
            <a:endParaRPr lang="es-CO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9BFBD898-1126-E327-EFF6-CF7BE744E6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CAFD72D6-4BF8-BCE0-5547-AA0090CFD8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279CBC-B292-40E9-B1BF-CB5F5D21536A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2589485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595A8A2-E1C9-BFD9-2B40-DB0FA9542A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01F18077-C71A-E31D-1E6D-A342383936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3FF84AB2-43F2-7A79-2653-DC98109DFF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CA56F2-A297-47BE-8C4A-A028765CBBD2}" type="datetime1">
              <a:rPr lang="es-CO" smtClean="0"/>
              <a:t>3/04/2025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E091D11F-7B11-3EB3-5840-C868A8B2C7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OD Meeting Report, July 26th, 2023 - Confidential</a:t>
            </a:r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CF2B663C-2813-9380-6BDA-1239312576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279CBC-B292-40E9-B1BF-CB5F5D21536A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8199432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345B88F-7FF2-B696-8F2B-748EAF7A37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F89A1FBE-E894-FC3D-61ED-3E360A6A6A9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A90E9D14-8831-DBE5-5C60-3589EA11D3E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7EFB594B-0103-1BA4-FBE8-1ADAED4C80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63DC03-7C24-42E5-8966-3D7C3426FC03}" type="datetime1">
              <a:rPr lang="es-CO" smtClean="0"/>
              <a:t>3/04/2025</a:t>
            </a:fld>
            <a:endParaRPr lang="es-CO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FB6C18DF-8F35-4C9E-2633-64A721F9D4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OD Meeting Report, July 26th, 2023 - Confidential</a:t>
            </a:r>
            <a:endParaRPr lang="es-CO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2931FD67-52E4-AAC2-0E60-81FD149BDE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279CBC-B292-40E9-B1BF-CB5F5D21536A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4867766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132ECDE-3B1C-6CE3-894D-B3F5DE5420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8E6E7AB4-F207-1B89-8094-ADA9BE0FB88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D349FCD8-237D-B9EE-8CC6-B41FC070763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3199F340-8496-7C6E-4C38-89C09947C1F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FD1EEB75-93AE-BCD1-2063-0AAC2B62256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F2CFAC41-3195-2D28-76DE-AD4665A57C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9F0B88-E1F6-41DE-A83A-18CDC0BB4C1A}" type="datetime1">
              <a:rPr lang="es-CO" smtClean="0"/>
              <a:t>3/04/2025</a:t>
            </a:fld>
            <a:endParaRPr lang="es-CO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B268E3A6-AC20-B34E-C696-77C572E6F8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OD Meeting Report, July 26th, 2023 - Confidential</a:t>
            </a:r>
            <a:endParaRPr lang="es-CO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914A8919-8F25-6CB1-C8BD-A2B7DE82F6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279CBC-B292-40E9-B1BF-CB5F5D21536A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5274184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463F6B6-33AF-6788-73E5-F2CFFB530A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A06BA278-F0D1-D4F9-3FAF-AA117156F3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65B5E5-87E1-428A-961F-DF391537D704}" type="datetime1">
              <a:rPr lang="es-CO" smtClean="0"/>
              <a:t>3/04/2025</a:t>
            </a:fld>
            <a:endParaRPr lang="es-CO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47A7B773-6954-A0AA-FCF9-3E49F7F988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OD Meeting Report, July 26th, 2023 - Confidential</a:t>
            </a:r>
            <a:endParaRPr lang="es-CO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BCDD493F-36A5-591A-C17A-527E2A95A5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279CBC-B292-40E9-B1BF-CB5F5D21536A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9550117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>
            <a:extLst>
              <a:ext uri="{FF2B5EF4-FFF2-40B4-BE49-F238E27FC236}">
                <a16:creationId xmlns:a16="http://schemas.microsoft.com/office/drawing/2014/main" id="{96B29095-4AFE-1FC7-9656-6A4A86E695D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AC5E809E-0EB5-EB25-F22F-FC5357A8D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7E771E-864F-45B9-824D-11A06913499C}" type="datetime1">
              <a:rPr lang="es-CO" smtClean="0"/>
              <a:t>3/04/2025</a:t>
            </a:fld>
            <a:endParaRPr lang="es-CO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3A1E9CA7-1D1A-5298-E6E2-B7EC914401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OD Meeting Report, July 26th, 2023 - Confidential</a:t>
            </a:r>
            <a:endParaRPr lang="es-CO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03EC04A8-2D0E-76AB-5C13-A392F312DD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279CBC-B292-40E9-B1BF-CB5F5D21536A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1849289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0B178883-0228-76D3-7D5C-ADB2E728DF1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7A083ED4-169D-57B0-C41F-00153D22B4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D3BAB-508E-4187-B7D3-7948355F2F08}" type="datetime1">
              <a:rPr lang="es-CO" smtClean="0"/>
              <a:t>3/04/2025</a:t>
            </a:fld>
            <a:endParaRPr lang="es-CO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F6C7C6E2-F2EB-01A2-6FBB-455B3F9624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OD Meeting Report, July 26th, 2023 - Confidential</a:t>
            </a:r>
            <a:endParaRPr lang="es-CO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CA2510BF-6F5B-42B7-9737-AC28066D0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279CBC-B292-40E9-B1BF-CB5F5D21536A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3984353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7A083ED4-169D-57B0-C41F-00153D22B4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D3BAB-508E-4187-B7D3-7948355F2F08}" type="datetime1">
              <a:rPr lang="es-CO" smtClean="0"/>
              <a:t>3/04/2025</a:t>
            </a:fld>
            <a:endParaRPr lang="es-CO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F6C7C6E2-F2EB-01A2-6FBB-455B3F9624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BOD Meeting Report, July 26th, 2023 - Confidential</a:t>
            </a:r>
            <a:endParaRPr lang="es-CO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CA2510BF-6F5B-42B7-9737-AC28066D0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279CBC-B292-40E9-B1BF-CB5F5D21536A}" type="slidenum">
              <a:rPr lang="es-CO" smtClean="0"/>
              <a:t>‹nº›</a:t>
            </a:fld>
            <a:endParaRPr lang="es-CO"/>
          </a:p>
        </p:txBody>
      </p:sp>
      <p:pic>
        <p:nvPicPr>
          <p:cNvPr id="6" name="Imagen 5" descr="Imagen que contiene camioneta, estacionado, grande, cuarto&#10;&#10;Descripción generada automáticamente">
            <a:extLst>
              <a:ext uri="{FF2B5EF4-FFF2-40B4-BE49-F238E27FC236}">
                <a16:creationId xmlns:a16="http://schemas.microsoft.com/office/drawing/2014/main" id="{75EF2993-B1A0-0233-7F96-1C455CEFEB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54834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4A2983F4-C191-8CC1-15FB-70A9A7067E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A5C17CCC-5550-AD38-6228-32F3CF6D0F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BAEEEE6-9E6D-5A24-7426-AF1E32CA782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631DBB2-0685-47BB-B399-F2AB563CC333}" type="datetime1">
              <a:rPr lang="es-CO" smtClean="0"/>
              <a:t>3/04/2025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7088F27F-865C-D8D4-F070-3CA1812705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BOD Meeting Report, July 26th, 2023 - Confidential</a:t>
            </a:r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C7FE88B5-3753-69C1-6D31-85DA461E4A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279CBC-B292-40E9-B1BF-CB5F5D21536A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078428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7" r:id="rId12"/>
    <p:sldLayoutId id="2147483688" r:id="rId13"/>
    <p:sldLayoutId id="2147483689" r:id="rId14"/>
    <p:sldLayoutId id="2147483690" r:id="rId15"/>
    <p:sldLayoutId id="2147483691" r:id="rId16"/>
    <p:sldLayoutId id="2147483692" r:id="rId17"/>
    <p:sldLayoutId id="2147483693" r:id="rId18"/>
    <p:sldLayoutId id="2147483694" r:id="rId19"/>
    <p:sldLayoutId id="2147483695" r:id="rId20"/>
    <p:sldLayoutId id="2147483696" r:id="rId21"/>
    <p:sldLayoutId id="2147483697" r:id="rId22"/>
    <p:sldLayoutId id="2147483698" r:id="rId23"/>
    <p:sldLayoutId id="2147483699" r:id="rId24"/>
    <p:sldLayoutId id="2147483700" r:id="rId25"/>
    <p:sldLayoutId id="2147483701" r:id="rId26"/>
    <p:sldLayoutId id="2147483702" r:id="rId27"/>
    <p:sldLayoutId id="2147483703" r:id="rId28"/>
    <p:sldLayoutId id="2147483669" r:id="rId2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gif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32.png"/><Relationship Id="rId4" Type="http://schemas.openxmlformats.org/officeDocument/2006/relationships/image" Target="../media/image31.jp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33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34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35.jpe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gif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gif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0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vicel.com.br/" TargetMode="External"/><Relationship Id="rId3" Type="http://schemas.openxmlformats.org/officeDocument/2006/relationships/image" Target="../media/image21.png"/><Relationship Id="rId7" Type="http://schemas.openxmlformats.org/officeDocument/2006/relationships/hyperlink" Target="https://soenergy.com/pt/solucao/controle-de-temperatura/" TargetMode="Externa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1.xml"/><Relationship Id="rId6" Type="http://schemas.openxmlformats.org/officeDocument/2006/relationships/hyperlink" Target="https://soenergy.com/" TargetMode="External"/><Relationship Id="rId5" Type="http://schemas.openxmlformats.org/officeDocument/2006/relationships/image" Target="../media/image27.emf"/><Relationship Id="rId4" Type="http://schemas.openxmlformats.org/officeDocument/2006/relationships/image" Target="../media/image2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9">
            <a:extLst>
              <a:ext uri="{FF2B5EF4-FFF2-40B4-BE49-F238E27FC236}">
                <a16:creationId xmlns:a16="http://schemas.microsoft.com/office/drawing/2014/main" id="{08FE1089-E4D8-2C3D-23C8-B5A87B138AA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07200" y="1"/>
            <a:ext cx="9084800" cy="5654842"/>
          </a:xfrm>
          <a:prstGeom prst="rect">
            <a:avLst/>
          </a:prstGeom>
        </p:spPr>
      </p:pic>
      <p:pic>
        <p:nvPicPr>
          <p:cNvPr id="7" name="Imagen 6" descr="Logotipo&#10;&#10;Descripción generada automáticamente">
            <a:extLst>
              <a:ext uri="{FF2B5EF4-FFF2-40B4-BE49-F238E27FC236}">
                <a16:creationId xmlns:a16="http://schemas.microsoft.com/office/drawing/2014/main" id="{46E19BD4-C59A-B9B2-66C6-4D6BBD3DB8C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37031" y="609950"/>
            <a:ext cx="2438401" cy="222846"/>
          </a:xfrm>
          <a:prstGeom prst="rect">
            <a:avLst/>
          </a:prstGeom>
        </p:spPr>
      </p:pic>
      <p:sp>
        <p:nvSpPr>
          <p:cNvPr id="12" name="CuadroTexto 11">
            <a:extLst>
              <a:ext uri="{FF2B5EF4-FFF2-40B4-BE49-F238E27FC236}">
                <a16:creationId xmlns:a16="http://schemas.microsoft.com/office/drawing/2014/main" id="{6820AC78-CBDA-7C61-C5D3-3D1DC90238AE}"/>
              </a:ext>
            </a:extLst>
          </p:cNvPr>
          <p:cNvSpPr txBox="1"/>
          <p:nvPr/>
        </p:nvSpPr>
        <p:spPr>
          <a:xfrm>
            <a:off x="778982" y="2938263"/>
            <a:ext cx="6595212" cy="22621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O" sz="4500" b="1" dirty="0"/>
              <a:t>SoEnergy Brasil</a:t>
            </a:r>
          </a:p>
          <a:p>
            <a:pPr algn="just"/>
            <a:r>
              <a:rPr lang="es-CO" sz="2400" dirty="0"/>
              <a:t>04 de abril de 2025</a:t>
            </a:r>
          </a:p>
          <a:p>
            <a:pPr algn="just"/>
            <a:endParaRPr lang="es-CO" sz="2400" dirty="0"/>
          </a:p>
          <a:p>
            <a:pPr algn="just"/>
            <a:r>
              <a:rPr lang="es-CO" sz="2400" dirty="0"/>
              <a:t>Luiz Felipe Carvalho</a:t>
            </a:r>
          </a:p>
          <a:p>
            <a:pPr algn="just"/>
            <a:r>
              <a:rPr lang="es-CO" sz="2400" dirty="0"/>
              <a:t>Gerente de Vendas</a:t>
            </a:r>
          </a:p>
        </p:txBody>
      </p:sp>
      <p:pic>
        <p:nvPicPr>
          <p:cNvPr id="9" name="Imagen 8" descr="Logotipo&#10;&#10;Descripción generada automáticamente">
            <a:extLst>
              <a:ext uri="{FF2B5EF4-FFF2-40B4-BE49-F238E27FC236}">
                <a16:creationId xmlns:a16="http://schemas.microsoft.com/office/drawing/2014/main" id="{D8F40332-F56C-1C1A-2F77-3C09BFC9CE7A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91283" y="5654843"/>
            <a:ext cx="3433468" cy="958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67441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8E871F-FDB1-EE96-DBCC-CD79935D43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B9242EEE-E159-381E-7D1B-1F1B961FF3A6}"/>
              </a:ext>
            </a:extLst>
          </p:cNvPr>
          <p:cNvSpPr txBox="1"/>
          <p:nvPr/>
        </p:nvSpPr>
        <p:spPr>
          <a:xfrm>
            <a:off x="711287" y="555958"/>
            <a:ext cx="322793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4000" b="1" dirty="0">
                <a:solidFill>
                  <a:schemeClr val="accent4"/>
                </a:solidFill>
                <a:latin typeface="+mj-lt"/>
              </a:rPr>
              <a:t>UTE COTIJUBA</a:t>
            </a:r>
          </a:p>
        </p:txBody>
      </p:sp>
      <p:pic>
        <p:nvPicPr>
          <p:cNvPr id="5" name="Imagen 6" descr="Logotipo&#10;&#10;Descripción generada automáticamente">
            <a:extLst>
              <a:ext uri="{FF2B5EF4-FFF2-40B4-BE49-F238E27FC236}">
                <a16:creationId xmlns:a16="http://schemas.microsoft.com/office/drawing/2014/main" id="{E652960A-1035-4D48-5A41-9EA16975F44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63234" y="555958"/>
            <a:ext cx="2438401" cy="222846"/>
          </a:xfrm>
          <a:prstGeom prst="rect">
            <a:avLst/>
          </a:prstGeom>
        </p:spPr>
      </p:pic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21E5BF81-3136-7EE6-FFBF-8FA0CE090BA1}"/>
              </a:ext>
            </a:extLst>
          </p:cNvPr>
          <p:cNvSpPr txBox="1">
            <a:spLocks/>
          </p:cNvSpPr>
          <p:nvPr/>
        </p:nvSpPr>
        <p:spPr>
          <a:xfrm>
            <a:off x="226142" y="1592826"/>
            <a:ext cx="6312310" cy="3883742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cher Medium" pitchFamily="50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400" kern="1200">
                <a:solidFill>
                  <a:schemeClr val="tx1"/>
                </a:solidFill>
                <a:latin typeface="Archer Medium" pitchFamily="50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cher Medium" pitchFamily="50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cher Medium" pitchFamily="50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Archer Medium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just" fontAlgn="auto">
              <a:lnSpc>
                <a:spcPct val="120000"/>
              </a:lnSpc>
              <a:spcAft>
                <a:spcPts val="0"/>
              </a:spcAft>
              <a:buSzPct val="85000"/>
              <a:buFont typeface="Wingdings" panose="05000000000000000000" pitchFamily="2" charset="2"/>
              <a:buChar char="§"/>
            </a:pPr>
            <a:r>
              <a:rPr lang="pt-BR" dirty="0">
                <a:solidFill>
                  <a:schemeClr val="tx1">
                    <a:tint val="75000"/>
                  </a:schemeClr>
                </a:solidFill>
                <a:latin typeface="+mn-lt"/>
              </a:rPr>
              <a:t>Potência Instalada: 2,4 MW.</a:t>
            </a:r>
          </a:p>
          <a:p>
            <a:pPr lvl="1" algn="just" fontAlgn="auto">
              <a:lnSpc>
                <a:spcPct val="120000"/>
              </a:lnSpc>
              <a:spcAft>
                <a:spcPts val="0"/>
              </a:spcAft>
              <a:buSzPct val="85000"/>
              <a:buFont typeface="Wingdings" panose="05000000000000000000" pitchFamily="2" charset="2"/>
              <a:buChar char="§"/>
            </a:pPr>
            <a:endParaRPr lang="pt-BR" sz="2800" dirty="0">
              <a:solidFill>
                <a:schemeClr val="tx1">
                  <a:tint val="75000"/>
                </a:schemeClr>
              </a:solidFill>
              <a:latin typeface="+mn-lt"/>
            </a:endParaRPr>
          </a:p>
          <a:p>
            <a:pPr marL="457200" lvl="1" indent="0" algn="just" fontAlgn="auto">
              <a:lnSpc>
                <a:spcPct val="120000"/>
              </a:lnSpc>
              <a:spcAft>
                <a:spcPts val="0"/>
              </a:spcAft>
              <a:buSzPct val="85000"/>
              <a:buNone/>
            </a:pPr>
            <a:endParaRPr lang="es-ES" sz="2000" dirty="0">
              <a:latin typeface="Calibri Light" panose="020F0302020204030204" pitchFamily="34" charset="0"/>
            </a:endParaRPr>
          </a:p>
          <a:p>
            <a:pPr lvl="1" algn="just" fontAlgn="auto">
              <a:lnSpc>
                <a:spcPct val="120000"/>
              </a:lnSpc>
              <a:spcAft>
                <a:spcPts val="0"/>
              </a:spcAft>
              <a:buSzPct val="85000"/>
              <a:buBlip>
                <a:blip r:embed="rId3"/>
              </a:buBlip>
            </a:pPr>
            <a:endParaRPr lang="es-ES" sz="2000" dirty="0">
              <a:latin typeface="Calibri Light" panose="020F0302020204030204" pitchFamily="34" charset="0"/>
            </a:endParaRPr>
          </a:p>
          <a:p>
            <a:pPr marL="457200" lvl="1" indent="0" fontAlgn="auto">
              <a:lnSpc>
                <a:spcPct val="120000"/>
              </a:lnSpc>
              <a:spcAft>
                <a:spcPts val="0"/>
              </a:spcAft>
              <a:buSzPct val="85000"/>
              <a:buNone/>
            </a:pPr>
            <a:r>
              <a:rPr lang="pt-BR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</a:rPr>
              <a:t>.</a:t>
            </a:r>
            <a:endParaRPr lang="en-US" sz="1800" dirty="0">
              <a:solidFill>
                <a:schemeClr val="tx1">
                  <a:lumMod val="85000"/>
                  <a:lumOff val="15000"/>
                </a:schemeClr>
              </a:solidFill>
              <a:latin typeface="Calibri Light" panose="020F0302020204030204" pitchFamily="34" charset="0"/>
            </a:endParaRP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A69BBF68-803D-606F-1599-1AF464F66C4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840" y="2084131"/>
            <a:ext cx="4241391" cy="3181043"/>
          </a:xfrm>
          <a:prstGeom prst="rect">
            <a:avLst/>
          </a:prstGeom>
        </p:spPr>
      </p:pic>
      <p:pic>
        <p:nvPicPr>
          <p:cNvPr id="2" name="Imagem 1">
            <a:extLst>
              <a:ext uri="{FF2B5EF4-FFF2-40B4-BE49-F238E27FC236}">
                <a16:creationId xmlns:a16="http://schemas.microsoft.com/office/drawing/2014/main" id="{AFFC2CB2-E4E3-3117-ADA5-DD744F147C2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6000" y="2084131"/>
            <a:ext cx="4784856" cy="3181043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57A77B28-B8FA-1C68-4B82-CBB107F79C12}"/>
              </a:ext>
            </a:extLst>
          </p:cNvPr>
          <p:cNvSpPr txBox="1"/>
          <p:nvPr/>
        </p:nvSpPr>
        <p:spPr>
          <a:xfrm rot="6190250" flipH="1" flipV="1">
            <a:off x="1002890" y="5481938"/>
            <a:ext cx="83672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Ilha</a:t>
            </a:r>
            <a:endParaRPr lang="es-CL" dirty="0"/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A39DFE04-79EA-5AE0-C52B-2214FB35F78B}"/>
              </a:ext>
            </a:extLst>
          </p:cNvPr>
          <p:cNvSpPr txBox="1"/>
          <p:nvPr/>
        </p:nvSpPr>
        <p:spPr>
          <a:xfrm>
            <a:off x="617854" y="5265174"/>
            <a:ext cx="1083830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/>
              <a:t>A Ilha de </a:t>
            </a:r>
            <a:r>
              <a:rPr lang="pt-BR" sz="1400" dirty="0" err="1"/>
              <a:t>Cotijuba</a:t>
            </a:r>
            <a:r>
              <a:rPr lang="pt-BR" sz="1400" dirty="0"/>
              <a:t> é uma das mais belas e tranquilas ilhas de Belém. Com uma extensão de 16,5 km² e aproximadamente 10 mil habitantes, é cercada por praias de areia clara e vegetação densa. </a:t>
            </a:r>
            <a:r>
              <a:rPr lang="pt-BR" sz="1400" dirty="0" err="1"/>
              <a:t>Cotijuba</a:t>
            </a:r>
            <a:r>
              <a:rPr lang="pt-BR" sz="1400" dirty="0"/>
              <a:t> (</a:t>
            </a:r>
            <a:r>
              <a:rPr lang="pt-BR" sz="1400" i="1" dirty="0"/>
              <a:t>Trilha</a:t>
            </a:r>
            <a:r>
              <a:rPr lang="pt-BR" sz="1400" dirty="0"/>
              <a:t> </a:t>
            </a:r>
            <a:r>
              <a:rPr lang="pt-BR" sz="1400" i="1" dirty="0"/>
              <a:t>Dourada</a:t>
            </a:r>
            <a:r>
              <a:rPr lang="pt-BR" sz="1400" dirty="0"/>
              <a:t>) tem uma história rica, com registros de ocupação indígena e de atividades econômicas coloniais.</a:t>
            </a:r>
            <a:endParaRPr lang="es-CL" sz="1400" dirty="0"/>
          </a:p>
        </p:txBody>
      </p:sp>
    </p:spTree>
    <p:extLst>
      <p:ext uri="{BB962C8B-B14F-4D97-AF65-F5344CB8AC3E}">
        <p14:creationId xmlns:p14="http://schemas.microsoft.com/office/powerpoint/2010/main" val="33438351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DE56E0B1-89BF-825D-F469-9CACB361BC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8243E">
                    <a:tint val="75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Confidential</a:t>
            </a:r>
            <a:endParaRPr kumimoji="0" lang="es-CO" sz="1200" b="0" i="0" u="none" strike="noStrike" kern="1200" cap="none" spc="0" normalizeH="0" baseline="0" noProof="0" dirty="0">
              <a:ln>
                <a:noFill/>
              </a:ln>
              <a:solidFill>
                <a:srgbClr val="18243E">
                  <a:tint val="75000"/>
                </a:srgbClr>
              </a:solidFill>
              <a:effectLst/>
              <a:uLnTx/>
              <a:uFillTx/>
              <a:latin typeface="Inter"/>
              <a:ea typeface="+mn-ea"/>
              <a:cs typeface="+mn-cs"/>
            </a:endParaRP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FEFCF00D-5AC4-AAE3-5A74-282338E5DF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279CBC-B292-40E9-B1BF-CB5F5D21536A}" type="slidenum">
              <a:rPr kumimoji="0" lang="es-CO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8243E">
                    <a:tint val="75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s-CO" sz="1200" b="0" i="0" u="none" strike="noStrike" kern="1200" cap="none" spc="0" normalizeH="0" baseline="0" noProof="0">
              <a:ln>
                <a:noFill/>
              </a:ln>
              <a:solidFill>
                <a:srgbClr val="18243E">
                  <a:tint val="75000"/>
                </a:srgbClr>
              </a:solidFill>
              <a:effectLst/>
              <a:uLnTx/>
              <a:uFillTx/>
              <a:latin typeface="Inter"/>
              <a:ea typeface="+mn-ea"/>
              <a:cs typeface="+mn-cs"/>
            </a:endParaRPr>
          </a:p>
        </p:txBody>
      </p:sp>
      <p:pic>
        <p:nvPicPr>
          <p:cNvPr id="17" name="Imagen 6" descr="Logotipo&#10;&#10;Descripción generada automáticamente">
            <a:extLst>
              <a:ext uri="{FF2B5EF4-FFF2-40B4-BE49-F238E27FC236}">
                <a16:creationId xmlns:a16="http://schemas.microsoft.com/office/drawing/2014/main" id="{C34DE448-12F2-0F44-02FF-F670A86880B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63234" y="555958"/>
            <a:ext cx="2438401" cy="22284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B17DA61-B8E4-4044-51FF-D9587BE6FD16}"/>
              </a:ext>
            </a:extLst>
          </p:cNvPr>
          <p:cNvSpPr txBox="1"/>
          <p:nvPr/>
        </p:nvSpPr>
        <p:spPr>
          <a:xfrm>
            <a:off x="764195" y="5645474"/>
            <a:ext cx="98777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 sz="1400" b="1">
                <a:latin typeface="MS Reference Sans Serif (Body)"/>
                <a:cs typeface="Times New Roman" panose="02020603050405020304" pitchFamily="18" charset="0"/>
              </a:defRPr>
            </a:lvl1pPr>
          </a:lstStyle>
          <a:p>
            <a:r>
              <a:rPr lang="en-US" b="0" dirty="0">
                <a:solidFill>
                  <a:schemeClr val="accent3">
                    <a:lumMod val="50000"/>
                  </a:schemeClr>
                </a:solidFill>
              </a:rPr>
              <a:t> Brazil - </a:t>
            </a:r>
            <a:r>
              <a:rPr lang="pt-BR" b="0" dirty="0">
                <a:solidFill>
                  <a:schemeClr val="accent3">
                    <a:lumMod val="50000"/>
                  </a:schemeClr>
                </a:solidFill>
              </a:rPr>
              <a:t>10MW, natural </a:t>
            </a:r>
            <a:r>
              <a:rPr lang="pt-BR" b="0" dirty="0" err="1">
                <a:solidFill>
                  <a:schemeClr val="accent3">
                    <a:lumMod val="50000"/>
                  </a:schemeClr>
                </a:solidFill>
              </a:rPr>
              <a:t>gas</a:t>
            </a:r>
            <a:endParaRPr lang="pt-BR" b="0" dirty="0">
              <a:solidFill>
                <a:schemeClr val="accent3">
                  <a:lumMod val="50000"/>
                </a:schemeClr>
              </a:solidFill>
            </a:endParaRP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B68F8BA4-5C8D-5D54-3B67-C13007EDAC78}"/>
              </a:ext>
            </a:extLst>
          </p:cNvPr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6960" y="1181903"/>
            <a:ext cx="7498080" cy="4361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CuadroTexto 12">
            <a:extLst>
              <a:ext uri="{FF2B5EF4-FFF2-40B4-BE49-F238E27FC236}">
                <a16:creationId xmlns:a16="http://schemas.microsoft.com/office/drawing/2014/main" id="{52B0AD03-2236-5981-3CA6-1655E8808098}"/>
              </a:ext>
            </a:extLst>
          </p:cNvPr>
          <p:cNvSpPr txBox="1"/>
          <p:nvPr/>
        </p:nvSpPr>
        <p:spPr>
          <a:xfrm>
            <a:off x="591623" y="313438"/>
            <a:ext cx="747161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rgbClr val="FAA81D"/>
                </a:solidFill>
                <a:latin typeface="+mj-lt"/>
              </a:rPr>
              <a:t>SoEnergy Experience </a:t>
            </a:r>
          </a:p>
        </p:txBody>
      </p:sp>
    </p:spTree>
    <p:extLst>
      <p:ext uri="{BB962C8B-B14F-4D97-AF65-F5344CB8AC3E}">
        <p14:creationId xmlns:p14="http://schemas.microsoft.com/office/powerpoint/2010/main" val="305737268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DE56E0B1-89BF-825D-F469-9CACB361BC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8243E">
                    <a:tint val="75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Confidential</a:t>
            </a:r>
            <a:endParaRPr kumimoji="0" lang="es-CO" sz="1200" b="0" i="0" u="none" strike="noStrike" kern="1200" cap="none" spc="0" normalizeH="0" baseline="0" noProof="0" dirty="0">
              <a:ln>
                <a:noFill/>
              </a:ln>
              <a:solidFill>
                <a:srgbClr val="18243E">
                  <a:tint val="75000"/>
                </a:srgbClr>
              </a:solidFill>
              <a:effectLst/>
              <a:uLnTx/>
              <a:uFillTx/>
              <a:latin typeface="Inter"/>
              <a:ea typeface="+mn-ea"/>
              <a:cs typeface="+mn-cs"/>
            </a:endParaRP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FEFCF00D-5AC4-AAE3-5A74-282338E5DF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279CBC-B292-40E9-B1BF-CB5F5D21536A}" type="slidenum">
              <a:rPr kumimoji="0" lang="es-CO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8243E">
                    <a:tint val="75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s-CO" sz="1200" b="0" i="0" u="none" strike="noStrike" kern="1200" cap="none" spc="0" normalizeH="0" baseline="0" noProof="0">
              <a:ln>
                <a:noFill/>
              </a:ln>
              <a:solidFill>
                <a:srgbClr val="18243E">
                  <a:tint val="75000"/>
                </a:srgbClr>
              </a:solidFill>
              <a:effectLst/>
              <a:uLnTx/>
              <a:uFillTx/>
              <a:latin typeface="Inter"/>
              <a:ea typeface="+mn-ea"/>
              <a:cs typeface="+mn-cs"/>
            </a:endParaRPr>
          </a:p>
        </p:txBody>
      </p:sp>
      <p:pic>
        <p:nvPicPr>
          <p:cNvPr id="17" name="Imagen 6" descr="Logotipo&#10;&#10;Descripción generada automáticamente">
            <a:extLst>
              <a:ext uri="{FF2B5EF4-FFF2-40B4-BE49-F238E27FC236}">
                <a16:creationId xmlns:a16="http://schemas.microsoft.com/office/drawing/2014/main" id="{C34DE448-12F2-0F44-02FF-F670A86880B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63234" y="555958"/>
            <a:ext cx="2438401" cy="222846"/>
          </a:xfrm>
          <a:prstGeom prst="rect">
            <a:avLst/>
          </a:prstGeom>
        </p:spPr>
      </p:pic>
      <p:pic>
        <p:nvPicPr>
          <p:cNvPr id="7" name="Picture 1">
            <a:extLst>
              <a:ext uri="{FF2B5EF4-FFF2-40B4-BE49-F238E27FC236}">
                <a16:creationId xmlns:a16="http://schemas.microsoft.com/office/drawing/2014/main" id="{721F5FCA-C5C0-68C5-0712-468D646EA514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2346960" y="1142500"/>
            <a:ext cx="7498080" cy="4361688"/>
          </a:xfrm>
          <a:prstGeom prst="rect">
            <a:avLst/>
          </a:prstGeom>
          <a:noFill/>
        </p:spPr>
      </p:pic>
      <p:sp>
        <p:nvSpPr>
          <p:cNvPr id="8" name="TextBox 2">
            <a:extLst>
              <a:ext uri="{FF2B5EF4-FFF2-40B4-BE49-F238E27FC236}">
                <a16:creationId xmlns:a16="http://schemas.microsoft.com/office/drawing/2014/main" id="{08879741-9402-C1F4-04AB-038A70CFAFC7}"/>
              </a:ext>
            </a:extLst>
          </p:cNvPr>
          <p:cNvSpPr txBox="1"/>
          <p:nvPr/>
        </p:nvSpPr>
        <p:spPr>
          <a:xfrm>
            <a:off x="1157126" y="5652074"/>
            <a:ext cx="98777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dirty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MS Reference Sans Serif (Body)"/>
                <a:cs typeface="Times New Roman" panose="02020603050405020304" pitchFamily="18" charset="0"/>
              </a:rPr>
              <a:t>Colombia - Gas treatment and Energy Generation using gas from a client’s well</a:t>
            </a:r>
            <a:r>
              <a:rPr lang="en-US" sz="1400" dirty="0">
                <a:solidFill>
                  <a:schemeClr val="accent3">
                    <a:lumMod val="50000"/>
                  </a:schemeClr>
                </a:solidFill>
                <a:latin typeface="MS Reference Sans Serif (Body)"/>
                <a:cs typeface="Times New Roman" panose="02020603050405020304" pitchFamily="18" charset="0"/>
              </a:rPr>
              <a:t> - </a:t>
            </a:r>
            <a:r>
              <a:rPr kumimoji="0" lang="en-US" sz="1400" i="0" u="none" strike="noStrike" kern="1200" cap="none" spc="0" normalizeH="0" baseline="0" dirty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MS Reference Sans Serif (Body)"/>
                <a:cs typeface="Times New Roman" panose="02020603050405020304" pitchFamily="18" charset="0"/>
              </a:rPr>
              <a:t>9MW</a:t>
            </a:r>
          </a:p>
        </p:txBody>
      </p:sp>
      <p:sp>
        <p:nvSpPr>
          <p:cNvPr id="5" name="CuadroTexto 12">
            <a:extLst>
              <a:ext uri="{FF2B5EF4-FFF2-40B4-BE49-F238E27FC236}">
                <a16:creationId xmlns:a16="http://schemas.microsoft.com/office/drawing/2014/main" id="{0D584E64-478F-7A27-1642-3D61C03ADCDE}"/>
              </a:ext>
            </a:extLst>
          </p:cNvPr>
          <p:cNvSpPr txBox="1"/>
          <p:nvPr/>
        </p:nvSpPr>
        <p:spPr>
          <a:xfrm>
            <a:off x="591623" y="313438"/>
            <a:ext cx="747161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rgbClr val="FAA81D"/>
                </a:solidFill>
                <a:latin typeface="+mj-lt"/>
              </a:rPr>
              <a:t>SoEnergy Experience </a:t>
            </a:r>
          </a:p>
        </p:txBody>
      </p:sp>
    </p:spTree>
    <p:extLst>
      <p:ext uri="{BB962C8B-B14F-4D97-AF65-F5344CB8AC3E}">
        <p14:creationId xmlns:p14="http://schemas.microsoft.com/office/powerpoint/2010/main" val="78265463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DE56E0B1-89BF-825D-F469-9CACB361BC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8243E">
                    <a:tint val="75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Confidential</a:t>
            </a:r>
            <a:endParaRPr kumimoji="0" lang="es-CO" sz="1200" b="0" i="0" u="none" strike="noStrike" kern="1200" cap="none" spc="0" normalizeH="0" baseline="0" noProof="0" dirty="0">
              <a:ln>
                <a:noFill/>
              </a:ln>
              <a:solidFill>
                <a:srgbClr val="18243E">
                  <a:tint val="75000"/>
                </a:srgbClr>
              </a:solidFill>
              <a:effectLst/>
              <a:uLnTx/>
              <a:uFillTx/>
              <a:latin typeface="Inter"/>
              <a:ea typeface="+mn-ea"/>
              <a:cs typeface="+mn-cs"/>
            </a:endParaRP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FEFCF00D-5AC4-AAE3-5A74-282338E5DF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279CBC-B292-40E9-B1BF-CB5F5D21536A}" type="slidenum">
              <a:rPr kumimoji="0" lang="es-CO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8243E">
                    <a:tint val="75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s-CO" sz="1200" b="0" i="0" u="none" strike="noStrike" kern="1200" cap="none" spc="0" normalizeH="0" baseline="0" noProof="0">
              <a:ln>
                <a:noFill/>
              </a:ln>
              <a:solidFill>
                <a:srgbClr val="18243E">
                  <a:tint val="75000"/>
                </a:srgbClr>
              </a:solidFill>
              <a:effectLst/>
              <a:uLnTx/>
              <a:uFillTx/>
              <a:latin typeface="Inter"/>
              <a:ea typeface="+mn-ea"/>
              <a:cs typeface="+mn-cs"/>
            </a:endParaRPr>
          </a:p>
        </p:txBody>
      </p:sp>
      <p:pic>
        <p:nvPicPr>
          <p:cNvPr id="17" name="Imagen 6" descr="Logotipo&#10;&#10;Descripción generada automáticamente">
            <a:extLst>
              <a:ext uri="{FF2B5EF4-FFF2-40B4-BE49-F238E27FC236}">
                <a16:creationId xmlns:a16="http://schemas.microsoft.com/office/drawing/2014/main" id="{C34DE448-12F2-0F44-02FF-F670A86880B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63234" y="555958"/>
            <a:ext cx="2438401" cy="222846"/>
          </a:xfrm>
          <a:prstGeom prst="rect">
            <a:avLst/>
          </a:prstGeom>
        </p:spPr>
      </p:pic>
      <p:pic>
        <p:nvPicPr>
          <p:cNvPr id="7" name="Picture 2">
            <a:extLst>
              <a:ext uri="{FF2B5EF4-FFF2-40B4-BE49-F238E27FC236}">
                <a16:creationId xmlns:a16="http://schemas.microsoft.com/office/drawing/2014/main" id="{DD2DA404-1797-2DB9-FEA7-F950FF9B6526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2347059" y="1088432"/>
            <a:ext cx="7497881" cy="4358002"/>
          </a:xfrm>
          <a:prstGeom prst="rect">
            <a:avLst/>
          </a:prstGeom>
          <a:noFill/>
        </p:spPr>
      </p:pic>
      <p:sp>
        <p:nvSpPr>
          <p:cNvPr id="8" name="TextBox 3">
            <a:extLst>
              <a:ext uri="{FF2B5EF4-FFF2-40B4-BE49-F238E27FC236}">
                <a16:creationId xmlns:a16="http://schemas.microsoft.com/office/drawing/2014/main" id="{FAAA1AC0-32A3-F4FB-C317-6B2BB23DBB1E}"/>
              </a:ext>
            </a:extLst>
          </p:cNvPr>
          <p:cNvSpPr txBox="1"/>
          <p:nvPr/>
        </p:nvSpPr>
        <p:spPr>
          <a:xfrm>
            <a:off x="3763611" y="5630361"/>
            <a:ext cx="46532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3">
                    <a:lumMod val="50000"/>
                  </a:schemeClr>
                </a:solidFill>
                <a:latin typeface="MS Reference Sans Serif (Body)"/>
                <a:cs typeface="Times New Roman" panose="02020603050405020304" pitchFamily="18" charset="0"/>
              </a:rPr>
              <a:t>Argentina – 60MW, natural gas (dual fuel) </a:t>
            </a:r>
          </a:p>
        </p:txBody>
      </p:sp>
      <p:sp>
        <p:nvSpPr>
          <p:cNvPr id="4" name="CuadroTexto 12">
            <a:extLst>
              <a:ext uri="{FF2B5EF4-FFF2-40B4-BE49-F238E27FC236}">
                <a16:creationId xmlns:a16="http://schemas.microsoft.com/office/drawing/2014/main" id="{CD6C818B-F2E9-1D0F-6083-38A43657AB37}"/>
              </a:ext>
            </a:extLst>
          </p:cNvPr>
          <p:cNvSpPr txBox="1"/>
          <p:nvPr/>
        </p:nvSpPr>
        <p:spPr>
          <a:xfrm>
            <a:off x="591623" y="313438"/>
            <a:ext cx="747161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rgbClr val="FAA81D"/>
                </a:solidFill>
                <a:latin typeface="+mj-lt"/>
              </a:rPr>
              <a:t>SoEnergy Experience </a:t>
            </a:r>
          </a:p>
        </p:txBody>
      </p:sp>
    </p:spTree>
    <p:extLst>
      <p:ext uri="{BB962C8B-B14F-4D97-AF65-F5344CB8AC3E}">
        <p14:creationId xmlns:p14="http://schemas.microsoft.com/office/powerpoint/2010/main" val="100223433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8" descr="Logo&#10;&#10;Description automatically generated">
            <a:extLst>
              <a:ext uri="{FF2B5EF4-FFF2-40B4-BE49-F238E27FC236}">
                <a16:creationId xmlns:a16="http://schemas.microsoft.com/office/drawing/2014/main" id="{F2459303-16C9-2D5E-89E3-4BD1F722F13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90458" y="2252866"/>
            <a:ext cx="10452369" cy="2352270"/>
          </a:xfrm>
          <a:prstGeom prst="rect">
            <a:avLst/>
          </a:prstGeom>
        </p:spPr>
      </p:pic>
      <p:sp>
        <p:nvSpPr>
          <p:cNvPr id="2" name="CuadroTexto 12">
            <a:extLst>
              <a:ext uri="{FF2B5EF4-FFF2-40B4-BE49-F238E27FC236}">
                <a16:creationId xmlns:a16="http://schemas.microsoft.com/office/drawing/2014/main" id="{DC83D45E-FE67-998C-D537-65D94A41BF46}"/>
              </a:ext>
            </a:extLst>
          </p:cNvPr>
          <p:cNvSpPr txBox="1"/>
          <p:nvPr/>
        </p:nvSpPr>
        <p:spPr>
          <a:xfrm>
            <a:off x="689946" y="258142"/>
            <a:ext cx="747161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 err="1">
                <a:solidFill>
                  <a:srgbClr val="FAA81D"/>
                </a:solidFill>
                <a:latin typeface="+mj-lt"/>
              </a:rPr>
              <a:t>Obrigado</a:t>
            </a:r>
            <a:r>
              <a:rPr lang="en-US" sz="4000" b="1" dirty="0">
                <a:solidFill>
                  <a:srgbClr val="FAA81D"/>
                </a:solidFill>
                <a:latin typeface="+mj-lt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38897866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5A765A-41FF-3B3E-F074-6AEA2D0030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71F25623-C58D-D976-5214-88A48ED94409}"/>
              </a:ext>
            </a:extLst>
          </p:cNvPr>
          <p:cNvSpPr txBox="1"/>
          <p:nvPr/>
        </p:nvSpPr>
        <p:spPr>
          <a:xfrm>
            <a:off x="681790" y="569495"/>
            <a:ext cx="179658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4000" b="1" dirty="0">
                <a:solidFill>
                  <a:schemeClr val="accent4"/>
                </a:solidFill>
                <a:latin typeface="+mj-lt"/>
              </a:rPr>
              <a:t>Agenda</a:t>
            </a:r>
          </a:p>
        </p:txBody>
      </p:sp>
      <p:pic>
        <p:nvPicPr>
          <p:cNvPr id="5" name="Imagen 6" descr="Logotipo&#10;&#10;Descripción generada automáticamente">
            <a:extLst>
              <a:ext uri="{FF2B5EF4-FFF2-40B4-BE49-F238E27FC236}">
                <a16:creationId xmlns:a16="http://schemas.microsoft.com/office/drawing/2014/main" id="{10C73E20-1300-9556-CCFC-5B67B2CC270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63234" y="555958"/>
            <a:ext cx="2438401" cy="222846"/>
          </a:xfrm>
          <a:prstGeom prst="rect">
            <a:avLst/>
          </a:prstGeom>
        </p:spPr>
      </p:pic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33276865-1B0C-EDBC-3EDC-242089424EBC}"/>
              </a:ext>
            </a:extLst>
          </p:cNvPr>
          <p:cNvSpPr txBox="1">
            <a:spLocks/>
          </p:cNvSpPr>
          <p:nvPr/>
        </p:nvSpPr>
        <p:spPr>
          <a:xfrm>
            <a:off x="88492" y="1729624"/>
            <a:ext cx="11828206" cy="3048853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cher Medium" pitchFamily="50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400" kern="1200">
                <a:solidFill>
                  <a:schemeClr val="tx1"/>
                </a:solidFill>
                <a:latin typeface="Archer Medium" pitchFamily="50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cher Medium" pitchFamily="50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cher Medium" pitchFamily="50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Archer Medium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just" fontAlgn="auto">
              <a:lnSpc>
                <a:spcPct val="120000"/>
              </a:lnSpc>
              <a:spcAft>
                <a:spcPts val="0"/>
              </a:spcAft>
              <a:buSzPct val="85000"/>
              <a:buFont typeface="Wingdings" panose="05000000000000000000" pitchFamily="2" charset="2"/>
              <a:buChar char="§"/>
            </a:pPr>
            <a:r>
              <a:rPr lang="pt-BR" sz="2800" dirty="0">
                <a:solidFill>
                  <a:schemeClr val="tx1">
                    <a:tint val="75000"/>
                  </a:schemeClr>
                </a:solidFill>
                <a:latin typeface="+mn-lt"/>
              </a:rPr>
              <a:t>SoEnergy.</a:t>
            </a:r>
          </a:p>
          <a:p>
            <a:pPr lvl="1" algn="just" fontAlgn="auto">
              <a:lnSpc>
                <a:spcPct val="120000"/>
              </a:lnSpc>
              <a:spcAft>
                <a:spcPts val="0"/>
              </a:spcAft>
              <a:buSzPct val="85000"/>
              <a:buFont typeface="Wingdings" panose="05000000000000000000" pitchFamily="2" charset="2"/>
              <a:buChar char="§"/>
            </a:pPr>
            <a:r>
              <a:rPr lang="pt-BR" sz="2800" dirty="0">
                <a:solidFill>
                  <a:schemeClr val="tx1">
                    <a:tint val="75000"/>
                  </a:schemeClr>
                </a:solidFill>
                <a:latin typeface="+mn-lt"/>
              </a:rPr>
              <a:t>Segmentos de Negócios.</a:t>
            </a:r>
          </a:p>
          <a:p>
            <a:pPr lvl="1" algn="just" fontAlgn="auto">
              <a:lnSpc>
                <a:spcPct val="120000"/>
              </a:lnSpc>
              <a:spcAft>
                <a:spcPts val="0"/>
              </a:spcAft>
              <a:buSzPct val="85000"/>
              <a:buFont typeface="Wingdings" panose="05000000000000000000" pitchFamily="2" charset="2"/>
              <a:buChar char="§"/>
            </a:pPr>
            <a:r>
              <a:rPr lang="pt-BR" sz="2800" dirty="0">
                <a:solidFill>
                  <a:schemeClr val="tx1">
                    <a:tint val="75000"/>
                  </a:schemeClr>
                </a:solidFill>
                <a:latin typeface="+mn-lt"/>
              </a:rPr>
              <a:t>Presença.</a:t>
            </a:r>
          </a:p>
          <a:p>
            <a:pPr lvl="1" algn="just" fontAlgn="auto">
              <a:lnSpc>
                <a:spcPct val="120000"/>
              </a:lnSpc>
              <a:spcAft>
                <a:spcPts val="0"/>
              </a:spcAft>
              <a:buSzPct val="85000"/>
              <a:buFont typeface="Wingdings" panose="05000000000000000000" pitchFamily="2" charset="2"/>
              <a:buChar char="§"/>
            </a:pPr>
            <a:r>
              <a:rPr lang="pt-BR" sz="2800" dirty="0">
                <a:solidFill>
                  <a:schemeClr val="tx1">
                    <a:tint val="75000"/>
                  </a:schemeClr>
                </a:solidFill>
                <a:latin typeface="+mn-lt"/>
              </a:rPr>
              <a:t>Nossa participação em climatização.</a:t>
            </a:r>
          </a:p>
          <a:p>
            <a:pPr lvl="1" algn="just" fontAlgn="auto">
              <a:lnSpc>
                <a:spcPct val="120000"/>
              </a:lnSpc>
              <a:spcAft>
                <a:spcPts val="0"/>
              </a:spcAft>
              <a:buSzPct val="85000"/>
              <a:buFont typeface="Wingdings" panose="05000000000000000000" pitchFamily="2" charset="2"/>
              <a:buChar char="§"/>
            </a:pPr>
            <a:r>
              <a:rPr lang="pt-BR" sz="2800" dirty="0">
                <a:solidFill>
                  <a:schemeClr val="tx1">
                    <a:tint val="75000"/>
                  </a:schemeClr>
                </a:solidFill>
                <a:latin typeface="+mn-lt"/>
              </a:rPr>
              <a:t>Referencias.</a:t>
            </a:r>
          </a:p>
          <a:p>
            <a:pPr marL="457200" lvl="1" indent="0" algn="just" fontAlgn="auto">
              <a:lnSpc>
                <a:spcPct val="120000"/>
              </a:lnSpc>
              <a:spcAft>
                <a:spcPts val="0"/>
              </a:spcAft>
              <a:buSzPct val="85000"/>
              <a:buNone/>
            </a:pPr>
            <a:endParaRPr lang="es-ES" sz="2000" dirty="0">
              <a:latin typeface="Calibri Light" panose="020F0302020204030204" pitchFamily="34" charset="0"/>
            </a:endParaRPr>
          </a:p>
          <a:p>
            <a:pPr lvl="1" algn="just" fontAlgn="auto">
              <a:lnSpc>
                <a:spcPct val="120000"/>
              </a:lnSpc>
              <a:spcAft>
                <a:spcPts val="0"/>
              </a:spcAft>
              <a:buSzPct val="85000"/>
              <a:buBlip>
                <a:blip r:embed="rId3"/>
              </a:buBlip>
            </a:pPr>
            <a:endParaRPr lang="es-ES" sz="2000" dirty="0">
              <a:latin typeface="Calibri Light" panose="020F0302020204030204" pitchFamily="34" charset="0"/>
            </a:endParaRPr>
          </a:p>
          <a:p>
            <a:pPr marL="457200" lvl="1" indent="0" fontAlgn="auto">
              <a:lnSpc>
                <a:spcPct val="120000"/>
              </a:lnSpc>
              <a:spcAft>
                <a:spcPts val="0"/>
              </a:spcAft>
              <a:buSzPct val="85000"/>
              <a:buNone/>
            </a:pPr>
            <a:r>
              <a:rPr lang="pt-BR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</a:rPr>
              <a:t>.</a:t>
            </a:r>
            <a:endParaRPr lang="en-US" sz="1800" dirty="0">
              <a:solidFill>
                <a:schemeClr val="tx1">
                  <a:lumMod val="85000"/>
                  <a:lumOff val="15000"/>
                </a:schemeClr>
              </a:solidFill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21401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82E235-DB49-C4F3-BC01-CF23B347A8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8FE1DFD7-B655-7A2A-A8D2-D8F3A18F0F8A}"/>
              </a:ext>
            </a:extLst>
          </p:cNvPr>
          <p:cNvSpPr txBox="1"/>
          <p:nvPr/>
        </p:nvSpPr>
        <p:spPr>
          <a:xfrm>
            <a:off x="1851829" y="648137"/>
            <a:ext cx="522579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4000" b="1" dirty="0">
                <a:solidFill>
                  <a:schemeClr val="accent4"/>
                </a:solidFill>
                <a:latin typeface="+mj-lt"/>
              </a:rPr>
              <a:t>Segmentos de </a:t>
            </a:r>
            <a:r>
              <a:rPr lang="es-CO" sz="4000" b="1" dirty="0" err="1">
                <a:solidFill>
                  <a:schemeClr val="accent4"/>
                </a:solidFill>
                <a:latin typeface="+mj-lt"/>
              </a:rPr>
              <a:t>Negócios</a:t>
            </a:r>
            <a:endParaRPr lang="es-CO" sz="4000" b="1" dirty="0">
              <a:solidFill>
                <a:schemeClr val="accent4"/>
              </a:solidFill>
              <a:latin typeface="+mj-lt"/>
            </a:endParaRPr>
          </a:p>
        </p:txBody>
      </p:sp>
      <p:pic>
        <p:nvPicPr>
          <p:cNvPr id="5" name="Imagen 6" descr="Logotipo&#10;&#10;Descripción generada automáticamente">
            <a:extLst>
              <a:ext uri="{FF2B5EF4-FFF2-40B4-BE49-F238E27FC236}">
                <a16:creationId xmlns:a16="http://schemas.microsoft.com/office/drawing/2014/main" id="{9731A59D-D107-C45D-E47D-A7DA1B0713D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63234" y="555958"/>
            <a:ext cx="2438401" cy="222846"/>
          </a:xfrm>
          <a:prstGeom prst="rect">
            <a:avLst/>
          </a:prstGeom>
        </p:spPr>
      </p:pic>
      <p:sp>
        <p:nvSpPr>
          <p:cNvPr id="2" name="Rectángulo 19">
            <a:extLst>
              <a:ext uri="{FF2B5EF4-FFF2-40B4-BE49-F238E27FC236}">
                <a16:creationId xmlns:a16="http://schemas.microsoft.com/office/drawing/2014/main" id="{E8CD7791-909A-B37A-80D3-D41DA1916359}"/>
              </a:ext>
            </a:extLst>
          </p:cNvPr>
          <p:cNvSpPr/>
          <p:nvPr/>
        </p:nvSpPr>
        <p:spPr>
          <a:xfrm>
            <a:off x="7623695" y="1804298"/>
            <a:ext cx="2556516" cy="3775164"/>
          </a:xfrm>
          <a:prstGeom prst="rect">
            <a:avLst/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>
              <a:solidFill>
                <a:schemeClr val="accent1"/>
              </a:solidFill>
            </a:endParaRPr>
          </a:p>
        </p:txBody>
      </p:sp>
      <p:sp>
        <p:nvSpPr>
          <p:cNvPr id="6" name="Rectángulo 11">
            <a:extLst>
              <a:ext uri="{FF2B5EF4-FFF2-40B4-BE49-F238E27FC236}">
                <a16:creationId xmlns:a16="http://schemas.microsoft.com/office/drawing/2014/main" id="{310C689B-AFD2-34E8-46DD-0D28B953ED2D}"/>
              </a:ext>
            </a:extLst>
          </p:cNvPr>
          <p:cNvSpPr/>
          <p:nvPr/>
        </p:nvSpPr>
        <p:spPr>
          <a:xfrm>
            <a:off x="2011788" y="1804298"/>
            <a:ext cx="2556516" cy="3775164"/>
          </a:xfrm>
          <a:prstGeom prst="rect">
            <a:avLst/>
          </a:prstGeom>
          <a:noFill/>
          <a:ln w="57150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7" name="Rectángulo 15">
            <a:extLst>
              <a:ext uri="{FF2B5EF4-FFF2-40B4-BE49-F238E27FC236}">
                <a16:creationId xmlns:a16="http://schemas.microsoft.com/office/drawing/2014/main" id="{25390BF5-76EC-FCB9-9889-72FD7CE072A1}"/>
              </a:ext>
            </a:extLst>
          </p:cNvPr>
          <p:cNvSpPr/>
          <p:nvPr/>
        </p:nvSpPr>
        <p:spPr>
          <a:xfrm>
            <a:off x="4826706" y="1804298"/>
            <a:ext cx="2556516" cy="3775164"/>
          </a:xfrm>
          <a:prstGeom prst="rect">
            <a:avLst/>
          </a:prstGeom>
          <a:noFill/>
          <a:ln w="571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grpSp>
        <p:nvGrpSpPr>
          <p:cNvPr id="8" name="Agrupar 7">
            <a:extLst>
              <a:ext uri="{FF2B5EF4-FFF2-40B4-BE49-F238E27FC236}">
                <a16:creationId xmlns:a16="http://schemas.microsoft.com/office/drawing/2014/main" id="{A0CC6964-7096-9A07-5917-4018CD52132C}"/>
              </a:ext>
            </a:extLst>
          </p:cNvPr>
          <p:cNvGrpSpPr/>
          <p:nvPr/>
        </p:nvGrpSpPr>
        <p:grpSpPr>
          <a:xfrm>
            <a:off x="2011788" y="1804298"/>
            <a:ext cx="8375449" cy="3775164"/>
            <a:chOff x="2011788" y="1804298"/>
            <a:chExt cx="8375449" cy="3775164"/>
          </a:xfrm>
        </p:grpSpPr>
        <p:sp>
          <p:nvSpPr>
            <p:cNvPr id="9" name="Rectángulo 19">
              <a:extLst>
                <a:ext uri="{FF2B5EF4-FFF2-40B4-BE49-F238E27FC236}">
                  <a16:creationId xmlns:a16="http://schemas.microsoft.com/office/drawing/2014/main" id="{A7407AA0-64FF-515A-F2DD-19B1A6667681}"/>
                </a:ext>
              </a:extLst>
            </p:cNvPr>
            <p:cNvSpPr/>
            <p:nvPr/>
          </p:nvSpPr>
          <p:spPr>
            <a:xfrm>
              <a:off x="7623695" y="1804298"/>
              <a:ext cx="2556516" cy="3775164"/>
            </a:xfrm>
            <a:prstGeom prst="rect">
              <a:avLst/>
            </a:prstGeom>
            <a:solidFill>
              <a:schemeClr val="accent2"/>
            </a:solidFill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>
                <a:solidFill>
                  <a:schemeClr val="accent1"/>
                </a:solidFill>
              </a:endParaRPr>
            </a:p>
          </p:txBody>
        </p:sp>
        <p:sp>
          <p:nvSpPr>
            <p:cNvPr id="10" name="CuadroTexto 5">
              <a:extLst>
                <a:ext uri="{FF2B5EF4-FFF2-40B4-BE49-F238E27FC236}">
                  <a16:creationId xmlns:a16="http://schemas.microsoft.com/office/drawing/2014/main" id="{728C5BBA-1968-AD06-BBB7-9CE2B7B958B3}"/>
                </a:ext>
              </a:extLst>
            </p:cNvPr>
            <p:cNvSpPr txBox="1"/>
            <p:nvPr/>
          </p:nvSpPr>
          <p:spPr>
            <a:xfrm>
              <a:off x="2118526" y="3129652"/>
              <a:ext cx="2556515" cy="150041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s-ES" dirty="0" err="1">
                  <a:solidFill>
                    <a:schemeClr val="accent4"/>
                  </a:solidFill>
                  <a:latin typeface="Inter Medium Italic" panose="02000503000000020004" pitchFamily="2" charset="0"/>
                  <a:ea typeface="Inter Medium Italic" panose="02000503000000020004" pitchFamily="2" charset="0"/>
                </a:rPr>
                <a:t>Geração</a:t>
              </a:r>
              <a:r>
                <a:rPr lang="es-ES" dirty="0">
                  <a:solidFill>
                    <a:schemeClr val="accent4"/>
                  </a:solidFill>
                  <a:latin typeface="Inter Medium Italic" panose="02000503000000020004" pitchFamily="2" charset="0"/>
                  <a:ea typeface="Inter Medium Italic" panose="02000503000000020004" pitchFamily="2" charset="0"/>
                </a:rPr>
                <a:t> </a:t>
              </a:r>
              <a:r>
                <a:rPr lang="es-ES" dirty="0" err="1">
                  <a:solidFill>
                    <a:schemeClr val="accent4"/>
                  </a:solidFill>
                  <a:latin typeface="Inter Medium Italic" panose="02000503000000020004" pitchFamily="2" charset="0"/>
                  <a:ea typeface="Inter Medium Italic" panose="02000503000000020004" pitchFamily="2" charset="0"/>
                </a:rPr>
                <a:t>Termoeletrica</a:t>
              </a:r>
              <a:endParaRPr lang="es-ES" dirty="0">
                <a:solidFill>
                  <a:schemeClr val="accent4"/>
                </a:solidFill>
                <a:latin typeface="Inter Medium Italic" panose="02000503000000020004" pitchFamily="2" charset="0"/>
                <a:ea typeface="Inter Medium Italic" panose="02000503000000020004" pitchFamily="2" charset="0"/>
              </a:endParaRPr>
            </a:p>
            <a:p>
              <a:r>
                <a:rPr lang="es-ES" sz="1050" dirty="0">
                  <a:latin typeface="Inter Light" panose="02000503000000020004" pitchFamily="2" charset="0"/>
                  <a:ea typeface="Inter Light" panose="02000503000000020004" pitchFamily="2" charset="0"/>
                </a:rPr>
                <a:t>Gas Natural</a:t>
              </a:r>
            </a:p>
            <a:p>
              <a:r>
                <a:rPr lang="es-ES" sz="1050" dirty="0">
                  <a:latin typeface="Inter Light" panose="02000503000000020004" pitchFamily="2" charset="0"/>
                  <a:ea typeface="Inter Light" panose="02000503000000020004" pitchFamily="2" charset="0"/>
                </a:rPr>
                <a:t>GLP</a:t>
              </a:r>
            </a:p>
            <a:p>
              <a:r>
                <a:rPr lang="es-ES" sz="1050" dirty="0" err="1">
                  <a:latin typeface="Inter Light" panose="02000503000000020004" pitchFamily="2" charset="0"/>
                  <a:ea typeface="Inter Light" panose="02000503000000020004" pitchFamily="2" charset="0"/>
                </a:rPr>
                <a:t>Cogeração</a:t>
              </a:r>
              <a:endParaRPr lang="es-ES" sz="1050" dirty="0">
                <a:latin typeface="Inter Light" panose="02000503000000020004" pitchFamily="2" charset="0"/>
                <a:ea typeface="Inter Light" panose="02000503000000020004" pitchFamily="2" charset="0"/>
              </a:endParaRPr>
            </a:p>
            <a:p>
              <a:r>
                <a:rPr lang="es-ES" sz="1050" dirty="0">
                  <a:latin typeface="Inter Light" panose="02000503000000020004" pitchFamily="2" charset="0"/>
                  <a:ea typeface="Inter Light" panose="02000503000000020004" pitchFamily="2" charset="0"/>
                </a:rPr>
                <a:t>Diesel</a:t>
              </a:r>
            </a:p>
            <a:p>
              <a:r>
                <a:rPr lang="es-ES" sz="1050" dirty="0" err="1">
                  <a:latin typeface="Inter Light" panose="02000503000000020004" pitchFamily="2" charset="0"/>
                  <a:ea typeface="Inter Light" panose="02000503000000020004" pitchFamily="2" charset="0"/>
                </a:rPr>
                <a:t>Flare</a:t>
              </a:r>
              <a:r>
                <a:rPr lang="es-ES" sz="1050" dirty="0">
                  <a:latin typeface="Inter Light" panose="02000503000000020004" pitchFamily="2" charset="0"/>
                  <a:ea typeface="Inter Light" panose="02000503000000020004" pitchFamily="2" charset="0"/>
                </a:rPr>
                <a:t> Gas</a:t>
              </a:r>
            </a:p>
            <a:p>
              <a:r>
                <a:rPr lang="es-ES" sz="1050" dirty="0">
                  <a:latin typeface="Inter Light" panose="02000503000000020004" pitchFamily="2" charset="0"/>
                  <a:ea typeface="Inter Light" panose="02000503000000020004" pitchFamily="2" charset="0"/>
                </a:rPr>
                <a:t>HFO /Diesel</a:t>
              </a:r>
            </a:p>
            <a:p>
              <a:r>
                <a:rPr lang="es-ES" sz="1050" dirty="0" err="1">
                  <a:latin typeface="Inter Light" panose="02000503000000020004" pitchFamily="2" charset="0"/>
                  <a:ea typeface="Inter Light" panose="02000503000000020004" pitchFamily="2" charset="0"/>
                </a:rPr>
                <a:t>Soluções</a:t>
              </a:r>
              <a:r>
                <a:rPr lang="es-ES" sz="1050" dirty="0">
                  <a:latin typeface="Inter Light" panose="02000503000000020004" pitchFamily="2" charset="0"/>
                  <a:ea typeface="Inter Light" panose="02000503000000020004" pitchFamily="2" charset="0"/>
                </a:rPr>
                <a:t> de </a:t>
              </a:r>
              <a:r>
                <a:rPr lang="es-ES" sz="1050" dirty="0" err="1">
                  <a:latin typeface="Inter Light" panose="02000503000000020004" pitchFamily="2" charset="0"/>
                  <a:ea typeface="Inter Light" panose="02000503000000020004" pitchFamily="2" charset="0"/>
                </a:rPr>
                <a:t>emergência</a:t>
              </a:r>
              <a:endParaRPr lang="es-ES" sz="1050" dirty="0">
                <a:latin typeface="Inter Light" panose="02000503000000020004" pitchFamily="2" charset="0"/>
                <a:ea typeface="Inter Light" panose="02000503000000020004" pitchFamily="2" charset="0"/>
              </a:endParaRPr>
            </a:p>
          </p:txBody>
        </p:sp>
        <p:sp>
          <p:nvSpPr>
            <p:cNvPr id="11" name="CuadroTexto 8">
              <a:extLst>
                <a:ext uri="{FF2B5EF4-FFF2-40B4-BE49-F238E27FC236}">
                  <a16:creationId xmlns:a16="http://schemas.microsoft.com/office/drawing/2014/main" id="{7D927E8D-C9E3-8F2E-9A8F-F14489FCDBAF}"/>
                </a:ext>
              </a:extLst>
            </p:cNvPr>
            <p:cNvSpPr txBox="1"/>
            <p:nvPr/>
          </p:nvSpPr>
          <p:spPr>
            <a:xfrm>
              <a:off x="2130433" y="4612037"/>
              <a:ext cx="2142464" cy="85408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s-ES" dirty="0" err="1">
                  <a:solidFill>
                    <a:schemeClr val="accent4"/>
                  </a:solidFill>
                  <a:latin typeface="Inter Medium Italic" panose="02000503000000020004" pitchFamily="2" charset="0"/>
                </a:rPr>
                <a:t>Renováveis</a:t>
              </a:r>
              <a:endParaRPr lang="es-ES" dirty="0">
                <a:solidFill>
                  <a:schemeClr val="accent4"/>
                </a:solidFill>
                <a:latin typeface="Inter Medium Italic" panose="02000503000000020004" pitchFamily="2" charset="0"/>
              </a:endParaRPr>
            </a:p>
            <a:p>
              <a:r>
                <a:rPr lang="es-ES" sz="1050" dirty="0" err="1">
                  <a:latin typeface="Inter Light" panose="02000503000000020004" pitchFamily="2" charset="0"/>
                  <a:ea typeface="Inter Light" panose="02000503000000020004" pitchFamily="2" charset="0"/>
                </a:rPr>
                <a:t>Soluções</a:t>
              </a:r>
              <a:r>
                <a:rPr lang="es-ES" sz="1050" dirty="0">
                  <a:latin typeface="Inter Light" panose="02000503000000020004" pitchFamily="2" charset="0"/>
                  <a:ea typeface="Inter Light" panose="02000503000000020004" pitchFamily="2" charset="0"/>
                </a:rPr>
                <a:t> híbridas</a:t>
              </a:r>
            </a:p>
            <a:p>
              <a:r>
                <a:rPr lang="es-ES" sz="1050" dirty="0" err="1">
                  <a:latin typeface="Inter Light" panose="02000503000000020004" pitchFamily="2" charset="0"/>
                  <a:ea typeface="Inter Light" panose="02000503000000020004" pitchFamily="2" charset="0"/>
                </a:rPr>
                <a:t>Soluções</a:t>
              </a:r>
              <a:r>
                <a:rPr lang="es-ES" sz="1050" dirty="0">
                  <a:latin typeface="Inter Light" panose="02000503000000020004" pitchFamily="2" charset="0"/>
                  <a:ea typeface="Inter Light" panose="02000503000000020004" pitchFamily="2" charset="0"/>
                </a:rPr>
                <a:t> </a:t>
              </a:r>
              <a:r>
                <a:rPr lang="es-ES" sz="1050" dirty="0" err="1">
                  <a:latin typeface="Inter Light" panose="02000503000000020004" pitchFamily="2" charset="0"/>
                  <a:ea typeface="Inter Light" panose="02000503000000020004" pitchFamily="2" charset="0"/>
                </a:rPr>
                <a:t>renováveis</a:t>
              </a:r>
              <a:endParaRPr lang="es-ES" sz="1050" dirty="0">
                <a:latin typeface="Inter Light" panose="02000503000000020004" pitchFamily="2" charset="0"/>
                <a:ea typeface="Inter Light" panose="02000503000000020004" pitchFamily="2" charset="0"/>
              </a:endParaRPr>
            </a:p>
            <a:p>
              <a:r>
                <a:rPr lang="es-ES" sz="1050" dirty="0" err="1">
                  <a:latin typeface="Inter Light" panose="02000503000000020004" pitchFamily="2" charset="0"/>
                  <a:ea typeface="Inter Light" panose="02000503000000020004" pitchFamily="2" charset="0"/>
                </a:rPr>
                <a:t>Armazenamento</a:t>
              </a:r>
              <a:r>
                <a:rPr lang="es-ES" sz="1050" dirty="0">
                  <a:latin typeface="Inter Light" panose="02000503000000020004" pitchFamily="2" charset="0"/>
                  <a:ea typeface="Inter Light" panose="02000503000000020004" pitchFamily="2" charset="0"/>
                </a:rPr>
                <a:t> de Energia</a:t>
              </a:r>
            </a:p>
          </p:txBody>
        </p:sp>
        <p:sp>
          <p:nvSpPr>
            <p:cNvPr id="12" name="CuadroTexto 10">
              <a:extLst>
                <a:ext uri="{FF2B5EF4-FFF2-40B4-BE49-F238E27FC236}">
                  <a16:creationId xmlns:a16="http://schemas.microsoft.com/office/drawing/2014/main" id="{0192A9F5-E6A9-7120-58A8-03E9EEDAC222}"/>
                </a:ext>
              </a:extLst>
            </p:cNvPr>
            <p:cNvSpPr txBox="1"/>
            <p:nvPr/>
          </p:nvSpPr>
          <p:spPr>
            <a:xfrm>
              <a:off x="2195179" y="1846940"/>
              <a:ext cx="2373125" cy="101566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s-CO" sz="2400" b="1" dirty="0">
                  <a:solidFill>
                    <a:schemeClr val="accent4"/>
                  </a:solidFill>
                  <a:latin typeface="Inter Black" panose="02000503000000020004" pitchFamily="2" charset="0"/>
                  <a:ea typeface="Inter Black" panose="02000503000000020004" pitchFamily="2" charset="0"/>
                </a:rPr>
                <a:t>01</a:t>
              </a:r>
            </a:p>
            <a:p>
              <a:r>
                <a:rPr lang="es-CO" b="1" dirty="0" err="1">
                  <a:solidFill>
                    <a:schemeClr val="accent4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Geração</a:t>
              </a:r>
              <a:r>
                <a:rPr lang="es-CO" b="1" dirty="0">
                  <a:solidFill>
                    <a:schemeClr val="accent4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 de </a:t>
              </a:r>
              <a:r>
                <a:rPr lang="es-CO" b="1" dirty="0" err="1">
                  <a:solidFill>
                    <a:schemeClr val="accent4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energia</a:t>
              </a:r>
              <a:endParaRPr lang="es-CO" b="1" dirty="0">
                <a:solidFill>
                  <a:schemeClr val="accent4"/>
                </a:solidFill>
                <a:latin typeface="Inter" panose="02000503000000020004" pitchFamily="2" charset="0"/>
                <a:ea typeface="Inter" panose="02000503000000020004" pitchFamily="2" charset="0"/>
              </a:endParaRPr>
            </a:p>
            <a:p>
              <a:endParaRPr lang="es-CO" b="1" dirty="0">
                <a:solidFill>
                  <a:schemeClr val="accent4"/>
                </a:solidFill>
                <a:latin typeface="Inter" panose="02000503000000020004" pitchFamily="2" charset="0"/>
                <a:ea typeface="Inter" panose="02000503000000020004" pitchFamily="2" charset="0"/>
              </a:endParaRPr>
            </a:p>
          </p:txBody>
        </p:sp>
        <p:sp>
          <p:nvSpPr>
            <p:cNvPr id="13" name="Rectángulo 11">
              <a:extLst>
                <a:ext uri="{FF2B5EF4-FFF2-40B4-BE49-F238E27FC236}">
                  <a16:creationId xmlns:a16="http://schemas.microsoft.com/office/drawing/2014/main" id="{E40C4C67-00B1-859B-1454-5D1A39E5F865}"/>
                </a:ext>
              </a:extLst>
            </p:cNvPr>
            <p:cNvSpPr/>
            <p:nvPr/>
          </p:nvSpPr>
          <p:spPr>
            <a:xfrm>
              <a:off x="2011788" y="1804298"/>
              <a:ext cx="2556516" cy="3775164"/>
            </a:xfrm>
            <a:prstGeom prst="rect">
              <a:avLst/>
            </a:prstGeom>
            <a:noFill/>
            <a:ln w="57150">
              <a:solidFill>
                <a:schemeClr val="accent4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14" name="CuadroTexto 12">
              <a:extLst>
                <a:ext uri="{FF2B5EF4-FFF2-40B4-BE49-F238E27FC236}">
                  <a16:creationId xmlns:a16="http://schemas.microsoft.com/office/drawing/2014/main" id="{A1C0570C-150F-2739-D19C-E737B2663EDD}"/>
                </a:ext>
              </a:extLst>
            </p:cNvPr>
            <p:cNvSpPr txBox="1"/>
            <p:nvPr/>
          </p:nvSpPr>
          <p:spPr>
            <a:xfrm>
              <a:off x="5028026" y="3112133"/>
              <a:ext cx="3035208" cy="181588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kumimoji="0" lang="pt-BR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4AF9E"/>
                  </a:solidFill>
                  <a:effectLst/>
                  <a:uLnTx/>
                  <a:uFillTx/>
                  <a:latin typeface="Inter SemiBold Italic" panose="02000503000000020004" pitchFamily="2" charset="0"/>
                  <a:ea typeface="Inter SemiBold Italic" panose="02000503000000020004" pitchFamily="2" charset="0"/>
                  <a:cs typeface="+mn-cs"/>
                </a:rPr>
                <a:t>Serviços </a:t>
              </a:r>
              <a:endParaRPr lang="es-ES" sz="1600" b="1" dirty="0">
                <a:solidFill>
                  <a:schemeClr val="accent1"/>
                </a:solidFill>
                <a:latin typeface="Inter SemiBold Italic" panose="02000503000000020004" pitchFamily="2" charset="0"/>
                <a:ea typeface="Inter SemiBold Italic" panose="02000503000000020004" pitchFamily="2" charset="0"/>
              </a:endParaRPr>
            </a:p>
            <a:p>
              <a:r>
                <a:rPr lang="es-ES" sz="1600" dirty="0" err="1">
                  <a:latin typeface="Inter Light" panose="02000503000000020004" pitchFamily="2" charset="0"/>
                  <a:ea typeface="Inter Light" panose="02000503000000020004" pitchFamily="2" charset="0"/>
                </a:rPr>
                <a:t>Recuperação</a:t>
              </a:r>
              <a:r>
                <a:rPr lang="es-ES" sz="1600" dirty="0">
                  <a:latin typeface="Inter Light" panose="02000503000000020004" pitchFamily="2" charset="0"/>
                  <a:ea typeface="Inter Light" panose="02000503000000020004" pitchFamily="2" charset="0"/>
                </a:rPr>
                <a:t> de </a:t>
              </a:r>
              <a:r>
                <a:rPr lang="es-ES" sz="1600" dirty="0" err="1">
                  <a:latin typeface="Inter Light" panose="02000503000000020004" pitchFamily="2" charset="0"/>
                  <a:ea typeface="Inter Light" panose="02000503000000020004" pitchFamily="2" charset="0"/>
                </a:rPr>
                <a:t>água</a:t>
              </a:r>
              <a:r>
                <a:rPr lang="es-ES" sz="1600" dirty="0">
                  <a:latin typeface="Inter Light" panose="02000503000000020004" pitchFamily="2" charset="0"/>
                  <a:ea typeface="Inter Light" panose="02000503000000020004" pitchFamily="2" charset="0"/>
                </a:rPr>
                <a:t> para </a:t>
              </a:r>
              <a:r>
                <a:rPr lang="es-ES" sz="1600" dirty="0" err="1">
                  <a:latin typeface="Inter Light" panose="02000503000000020004" pitchFamily="2" charset="0"/>
                  <a:ea typeface="Inter Light" panose="02000503000000020004" pitchFamily="2" charset="0"/>
                </a:rPr>
                <a:t>processos</a:t>
              </a:r>
              <a:endParaRPr lang="es-ES" sz="1600" dirty="0">
                <a:latin typeface="Inter Light" panose="02000503000000020004" pitchFamily="2" charset="0"/>
                <a:ea typeface="Inter Light" panose="02000503000000020004" pitchFamily="2" charset="0"/>
              </a:endParaRPr>
            </a:p>
            <a:p>
              <a:r>
                <a:rPr lang="es-ES" sz="1600" dirty="0" err="1">
                  <a:latin typeface="Inter Light" panose="02000503000000020004" pitchFamily="2" charset="0"/>
                  <a:ea typeface="Inter Light" panose="02000503000000020004" pitchFamily="2" charset="0"/>
                </a:rPr>
                <a:t>Dessalinização</a:t>
              </a:r>
              <a:endParaRPr lang="es-ES" sz="1600" dirty="0">
                <a:latin typeface="Inter Light" panose="02000503000000020004" pitchFamily="2" charset="0"/>
                <a:ea typeface="Inter Light" panose="02000503000000020004" pitchFamily="2" charset="0"/>
              </a:endParaRPr>
            </a:p>
            <a:p>
              <a:r>
                <a:rPr lang="es-ES" sz="1600" dirty="0">
                  <a:latin typeface="Inter Light" panose="02000503000000020004" pitchFamily="2" charset="0"/>
                  <a:ea typeface="Inter Light" panose="02000503000000020004" pitchFamily="2" charset="0"/>
                </a:rPr>
                <a:t>Venda de </a:t>
              </a:r>
              <a:r>
                <a:rPr lang="es-ES" sz="1600" dirty="0" err="1">
                  <a:latin typeface="Inter Light" panose="02000503000000020004" pitchFamily="2" charset="0"/>
                  <a:ea typeface="Inter Light" panose="02000503000000020004" pitchFamily="2" charset="0"/>
                </a:rPr>
                <a:t>equipamentos</a:t>
              </a:r>
              <a:endParaRPr lang="es-ES" sz="1600" dirty="0">
                <a:latin typeface="Inter Light" panose="02000503000000020004" pitchFamily="2" charset="0"/>
                <a:ea typeface="Inter Light" panose="02000503000000020004" pitchFamily="2" charset="0"/>
              </a:endParaRPr>
            </a:p>
            <a:p>
              <a:r>
                <a:rPr lang="es-ES" sz="1600" dirty="0" err="1">
                  <a:latin typeface="Inter Light" panose="02000503000000020004" pitchFamily="2" charset="0"/>
                  <a:ea typeface="Inter Light" panose="02000503000000020004" pitchFamily="2" charset="0"/>
                </a:rPr>
                <a:t>Manutenções</a:t>
              </a:r>
              <a:endParaRPr lang="es-ES" sz="1600" dirty="0">
                <a:latin typeface="Inter Light" panose="02000503000000020004" pitchFamily="2" charset="0"/>
                <a:ea typeface="Inter Light" panose="02000503000000020004" pitchFamily="2" charset="0"/>
              </a:endParaRPr>
            </a:p>
            <a:p>
              <a:r>
                <a:rPr lang="es-ES" sz="1600" dirty="0" err="1">
                  <a:latin typeface="Inter Light" panose="02000503000000020004" pitchFamily="2" charset="0"/>
                  <a:ea typeface="Inter Light" panose="02000503000000020004" pitchFamily="2" charset="0"/>
                </a:rPr>
                <a:t>Soluções</a:t>
              </a:r>
              <a:r>
                <a:rPr lang="es-ES" sz="1600" dirty="0">
                  <a:latin typeface="Inter Light" panose="02000503000000020004" pitchFamily="2" charset="0"/>
                  <a:ea typeface="Inter Light" panose="02000503000000020004" pitchFamily="2" charset="0"/>
                </a:rPr>
                <a:t> e </a:t>
              </a:r>
              <a:r>
                <a:rPr lang="es-ES" sz="1600" dirty="0" err="1">
                  <a:latin typeface="Inter Light" panose="02000503000000020004" pitchFamily="2" charset="0"/>
                  <a:ea typeface="Inter Light" panose="02000503000000020004" pitchFamily="2" charset="0"/>
                </a:rPr>
                <a:t>aplicações</a:t>
              </a:r>
              <a:endParaRPr lang="es-ES" sz="1600" dirty="0">
                <a:latin typeface="Inter Light" panose="02000503000000020004" pitchFamily="2" charset="0"/>
                <a:ea typeface="Inter Light" panose="02000503000000020004" pitchFamily="2" charset="0"/>
              </a:endParaRPr>
            </a:p>
          </p:txBody>
        </p:sp>
        <p:sp>
          <p:nvSpPr>
            <p:cNvPr id="15" name="CuadroTexto 14">
              <a:extLst>
                <a:ext uri="{FF2B5EF4-FFF2-40B4-BE49-F238E27FC236}">
                  <a16:creationId xmlns:a16="http://schemas.microsoft.com/office/drawing/2014/main" id="{8E4F2F36-C030-576B-C1EE-D6AA8B59DDFB}"/>
                </a:ext>
              </a:extLst>
            </p:cNvPr>
            <p:cNvSpPr txBox="1"/>
            <p:nvPr/>
          </p:nvSpPr>
          <p:spPr>
            <a:xfrm>
              <a:off x="5047749" y="1942606"/>
              <a:ext cx="1989161" cy="101566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s-CO" sz="2400" b="1" dirty="0">
                  <a:solidFill>
                    <a:schemeClr val="accent1"/>
                  </a:solidFill>
                  <a:latin typeface="Inter Black" panose="02000503000000020004" pitchFamily="2" charset="0"/>
                  <a:ea typeface="Inter Black" panose="02000503000000020004" pitchFamily="2" charset="0"/>
                </a:rPr>
                <a:t>02</a:t>
              </a:r>
            </a:p>
            <a:p>
              <a:r>
                <a:rPr lang="es-CO" b="1" dirty="0" err="1">
                  <a:solidFill>
                    <a:schemeClr val="accent1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Tratamento</a:t>
              </a:r>
              <a:r>
                <a:rPr lang="es-CO" b="1" dirty="0">
                  <a:solidFill>
                    <a:schemeClr val="accent1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 de </a:t>
              </a:r>
              <a:r>
                <a:rPr lang="es-CO" b="1" dirty="0" err="1">
                  <a:solidFill>
                    <a:schemeClr val="accent1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água</a:t>
              </a:r>
              <a:endParaRPr lang="es-CO" b="1" dirty="0">
                <a:solidFill>
                  <a:schemeClr val="accent1"/>
                </a:solidFill>
                <a:latin typeface="Inter" panose="02000503000000020004" pitchFamily="2" charset="0"/>
                <a:ea typeface="Inter" panose="02000503000000020004" pitchFamily="2" charset="0"/>
              </a:endParaRPr>
            </a:p>
          </p:txBody>
        </p:sp>
        <p:sp>
          <p:nvSpPr>
            <p:cNvPr id="16" name="Rectángulo 15">
              <a:extLst>
                <a:ext uri="{FF2B5EF4-FFF2-40B4-BE49-F238E27FC236}">
                  <a16:creationId xmlns:a16="http://schemas.microsoft.com/office/drawing/2014/main" id="{C92C599D-7986-17D1-A6F5-47E9779734EE}"/>
                </a:ext>
              </a:extLst>
            </p:cNvPr>
            <p:cNvSpPr/>
            <p:nvPr/>
          </p:nvSpPr>
          <p:spPr>
            <a:xfrm>
              <a:off x="4826706" y="1804298"/>
              <a:ext cx="2556516" cy="3775164"/>
            </a:xfrm>
            <a:prstGeom prst="rect">
              <a:avLst/>
            </a:prstGeom>
            <a:noFill/>
            <a:ln w="57150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17" name="CuadroTexto 16">
              <a:extLst>
                <a:ext uri="{FF2B5EF4-FFF2-40B4-BE49-F238E27FC236}">
                  <a16:creationId xmlns:a16="http://schemas.microsoft.com/office/drawing/2014/main" id="{702E889C-2780-567A-1946-E872222EE8D3}"/>
                </a:ext>
              </a:extLst>
            </p:cNvPr>
            <p:cNvSpPr txBox="1"/>
            <p:nvPr/>
          </p:nvSpPr>
          <p:spPr>
            <a:xfrm>
              <a:off x="7641624" y="3106506"/>
              <a:ext cx="2745613" cy="132343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s-ES" sz="1600" dirty="0" err="1">
                  <a:solidFill>
                    <a:schemeClr val="bg1"/>
                  </a:solidFill>
                  <a:latin typeface="Inter Medium Italic" panose="02000503000000020004" pitchFamily="2" charset="0"/>
                </a:rPr>
                <a:t>Soluções</a:t>
              </a:r>
              <a:r>
                <a:rPr lang="es-ES" sz="1600" dirty="0">
                  <a:solidFill>
                    <a:schemeClr val="bg1"/>
                  </a:solidFill>
                  <a:latin typeface="Inter Medium Italic" panose="02000503000000020004" pitchFamily="2" charset="0"/>
                </a:rPr>
                <a:t> </a:t>
              </a:r>
              <a:r>
                <a:rPr lang="es-ES" sz="1600" dirty="0" err="1">
                  <a:solidFill>
                    <a:schemeClr val="bg1"/>
                  </a:solidFill>
                  <a:latin typeface="Inter Medium Italic" panose="02000503000000020004" pitchFamily="2" charset="0"/>
                </a:rPr>
                <a:t>temporárias</a:t>
              </a:r>
              <a:r>
                <a:rPr lang="es-ES" sz="1600" dirty="0">
                  <a:solidFill>
                    <a:schemeClr val="bg1"/>
                  </a:solidFill>
                  <a:latin typeface="Inter Medium Italic" panose="02000503000000020004" pitchFamily="2" charset="0"/>
                </a:rPr>
                <a:t> </a:t>
              </a:r>
              <a:r>
                <a:rPr lang="es-ES" sz="1600" dirty="0" err="1">
                  <a:solidFill>
                    <a:schemeClr val="bg1"/>
                  </a:solidFill>
                  <a:latin typeface="Inter Medium Italic" panose="02000503000000020004" pitchFamily="2" charset="0"/>
                </a:rPr>
                <a:t>com</a:t>
              </a:r>
              <a:r>
                <a:rPr lang="es-ES" sz="1600" dirty="0">
                  <a:solidFill>
                    <a:schemeClr val="bg1"/>
                  </a:solidFill>
                  <a:latin typeface="Inter Medium Italic" panose="02000503000000020004" pitchFamily="2" charset="0"/>
                </a:rPr>
                <a:t> </a:t>
              </a:r>
              <a:r>
                <a:rPr lang="es-ES" sz="1600" dirty="0" err="1">
                  <a:solidFill>
                    <a:schemeClr val="bg1"/>
                  </a:solidFill>
                  <a:latin typeface="Inter Medium Italic" panose="02000503000000020004" pitchFamily="2" charset="0"/>
                </a:rPr>
                <a:t>aplicação</a:t>
              </a:r>
              <a:r>
                <a:rPr lang="es-ES" sz="1600" dirty="0">
                  <a:solidFill>
                    <a:schemeClr val="bg1"/>
                  </a:solidFill>
                  <a:latin typeface="Inter Medium Italic" panose="02000503000000020004" pitchFamily="2" charset="0"/>
                </a:rPr>
                <a:t> de </a:t>
              </a:r>
              <a:r>
                <a:rPr lang="es-ES" sz="1600" dirty="0" err="1">
                  <a:solidFill>
                    <a:schemeClr val="bg1"/>
                  </a:solidFill>
                  <a:latin typeface="Inter Medium Italic" panose="02000503000000020004" pitchFamily="2" charset="0"/>
                </a:rPr>
                <a:t>Chillers</a:t>
              </a:r>
              <a:endParaRPr lang="es-ES" sz="1600" dirty="0">
                <a:solidFill>
                  <a:schemeClr val="bg1"/>
                </a:solidFill>
                <a:latin typeface="Inter Medium Italic" panose="02000503000000020004" pitchFamily="2" charset="0"/>
              </a:endParaRPr>
            </a:p>
            <a:p>
              <a:r>
                <a:rPr lang="es-ES" sz="1600" dirty="0" err="1">
                  <a:solidFill>
                    <a:schemeClr val="bg1"/>
                  </a:solidFill>
                  <a:latin typeface="Inter Medium Italic" panose="02000503000000020004" pitchFamily="2" charset="0"/>
                </a:rPr>
                <a:t>Manutenções</a:t>
              </a:r>
              <a:r>
                <a:rPr lang="es-ES" sz="1600" dirty="0">
                  <a:solidFill>
                    <a:schemeClr val="bg1"/>
                  </a:solidFill>
                  <a:latin typeface="Inter Medium Italic" panose="02000503000000020004" pitchFamily="2" charset="0"/>
                </a:rPr>
                <a:t> programadas</a:t>
              </a:r>
            </a:p>
            <a:p>
              <a:r>
                <a:rPr lang="es-ES" sz="1600" dirty="0" err="1">
                  <a:solidFill>
                    <a:schemeClr val="bg1"/>
                  </a:solidFill>
                  <a:latin typeface="Inter Medium Italic" panose="02000503000000020004" pitchFamily="2" charset="0"/>
                </a:rPr>
                <a:t>Soluções</a:t>
              </a:r>
              <a:r>
                <a:rPr lang="es-ES" sz="1600" dirty="0">
                  <a:solidFill>
                    <a:schemeClr val="bg1"/>
                  </a:solidFill>
                  <a:latin typeface="Inter Medium Italic" panose="02000503000000020004" pitchFamily="2" charset="0"/>
                </a:rPr>
                <a:t> </a:t>
              </a:r>
              <a:r>
                <a:rPr lang="es-ES" sz="1600" dirty="0" err="1">
                  <a:solidFill>
                    <a:schemeClr val="bg1"/>
                  </a:solidFill>
                  <a:latin typeface="Inter Medium Italic" panose="02000503000000020004" pitchFamily="2" charset="0"/>
                </a:rPr>
                <a:t>Emergenciais</a:t>
              </a:r>
              <a:endParaRPr lang="es-ES" sz="1600" dirty="0">
                <a:solidFill>
                  <a:schemeClr val="bg1"/>
                </a:solidFill>
                <a:latin typeface="Inter Medium Italic" panose="02000503000000020004" pitchFamily="2" charset="0"/>
              </a:endParaRPr>
            </a:p>
            <a:p>
              <a:r>
                <a:rPr lang="es-ES" sz="1600" dirty="0" err="1">
                  <a:solidFill>
                    <a:schemeClr val="bg1"/>
                  </a:solidFill>
                  <a:latin typeface="Inter Medium Italic" panose="02000503000000020004" pitchFamily="2" charset="0"/>
                </a:rPr>
                <a:t>Soluções</a:t>
              </a:r>
              <a:r>
                <a:rPr lang="es-ES" sz="1600" dirty="0">
                  <a:solidFill>
                    <a:schemeClr val="bg1"/>
                  </a:solidFill>
                  <a:latin typeface="Inter Medium Italic" panose="02000503000000020004" pitchFamily="2" charset="0"/>
                </a:rPr>
                <a:t> de longo </a:t>
              </a:r>
              <a:r>
                <a:rPr lang="es-ES" sz="1600" dirty="0" err="1">
                  <a:solidFill>
                    <a:schemeClr val="bg1"/>
                  </a:solidFill>
                  <a:latin typeface="Inter Medium Italic" panose="02000503000000020004" pitchFamily="2" charset="0"/>
                </a:rPr>
                <a:t>prazo</a:t>
              </a:r>
              <a:endParaRPr lang="es-ES" sz="1600" dirty="0">
                <a:solidFill>
                  <a:schemeClr val="bg1"/>
                </a:solidFill>
                <a:latin typeface="Inter Medium Italic" panose="02000503000000020004" pitchFamily="2" charset="0"/>
              </a:endParaRPr>
            </a:p>
          </p:txBody>
        </p:sp>
        <p:sp>
          <p:nvSpPr>
            <p:cNvPr id="18" name="CuadroTexto 18">
              <a:extLst>
                <a:ext uri="{FF2B5EF4-FFF2-40B4-BE49-F238E27FC236}">
                  <a16:creationId xmlns:a16="http://schemas.microsoft.com/office/drawing/2014/main" id="{427228F8-BDBE-18FD-79F9-A23E923BEC87}"/>
                </a:ext>
              </a:extLst>
            </p:cNvPr>
            <p:cNvSpPr txBox="1"/>
            <p:nvPr/>
          </p:nvSpPr>
          <p:spPr>
            <a:xfrm>
              <a:off x="7844738" y="1942606"/>
              <a:ext cx="1989161" cy="101566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s-CO" sz="2400" b="1" dirty="0">
                  <a:solidFill>
                    <a:schemeClr val="bg1"/>
                  </a:solidFill>
                  <a:latin typeface="Inter Black" panose="02000503000000020004" pitchFamily="2" charset="0"/>
                  <a:ea typeface="Inter Black" panose="02000503000000020004" pitchFamily="2" charset="0"/>
                </a:rPr>
                <a:t>03</a:t>
              </a:r>
            </a:p>
            <a:p>
              <a:r>
                <a:rPr lang="es-CO" b="1" dirty="0">
                  <a:solidFill>
                    <a:schemeClr val="bg1"/>
                  </a:solidFill>
                  <a:latin typeface="Inter" panose="02000503000000020004" pitchFamily="2" charset="0"/>
                  <a:ea typeface="Inter" panose="02000503000000020004" pitchFamily="2" charset="0"/>
                </a:rPr>
                <a:t>Controle de temperatura</a:t>
              </a:r>
            </a:p>
          </p:txBody>
        </p:sp>
        <p:sp>
          <p:nvSpPr>
            <p:cNvPr id="19" name="Rectángulo 22">
              <a:extLst>
                <a:ext uri="{FF2B5EF4-FFF2-40B4-BE49-F238E27FC236}">
                  <a16:creationId xmlns:a16="http://schemas.microsoft.com/office/drawing/2014/main" id="{1F9C3E16-07FB-9197-4105-AE94C7FA8CC2}"/>
                </a:ext>
              </a:extLst>
            </p:cNvPr>
            <p:cNvSpPr/>
            <p:nvPr/>
          </p:nvSpPr>
          <p:spPr>
            <a:xfrm>
              <a:off x="2011788" y="3042305"/>
              <a:ext cx="1706880" cy="4571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 dirty="0"/>
            </a:p>
          </p:txBody>
        </p:sp>
        <p:sp>
          <p:nvSpPr>
            <p:cNvPr id="20" name="Rectángulo 23">
              <a:extLst>
                <a:ext uri="{FF2B5EF4-FFF2-40B4-BE49-F238E27FC236}">
                  <a16:creationId xmlns:a16="http://schemas.microsoft.com/office/drawing/2014/main" id="{5B14D3DE-40A4-1E2C-2485-BA41A8F10CEB}"/>
                </a:ext>
              </a:extLst>
            </p:cNvPr>
            <p:cNvSpPr/>
            <p:nvPr/>
          </p:nvSpPr>
          <p:spPr>
            <a:xfrm>
              <a:off x="4805388" y="3036362"/>
              <a:ext cx="1706880" cy="4571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21" name="Rectángulo 24">
              <a:extLst>
                <a:ext uri="{FF2B5EF4-FFF2-40B4-BE49-F238E27FC236}">
                  <a16:creationId xmlns:a16="http://schemas.microsoft.com/office/drawing/2014/main" id="{0396BB26-A9D6-C786-30CD-38934E83DCE4}"/>
                </a:ext>
              </a:extLst>
            </p:cNvPr>
            <p:cNvSpPr/>
            <p:nvPr/>
          </p:nvSpPr>
          <p:spPr>
            <a:xfrm>
              <a:off x="7627788" y="3036362"/>
              <a:ext cx="1706880" cy="4571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</p:grpSp>
    </p:spTree>
    <p:extLst>
      <p:ext uri="{BB962C8B-B14F-4D97-AF65-F5344CB8AC3E}">
        <p14:creationId xmlns:p14="http://schemas.microsoft.com/office/powerpoint/2010/main" val="22889206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F03D0D47-F950-A17F-8866-BC438998C34E}"/>
              </a:ext>
            </a:extLst>
          </p:cNvPr>
          <p:cNvSpPr txBox="1"/>
          <p:nvPr/>
        </p:nvSpPr>
        <p:spPr>
          <a:xfrm>
            <a:off x="681790" y="569495"/>
            <a:ext cx="389670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4000" b="1" dirty="0">
                <a:solidFill>
                  <a:schemeClr val="accent4"/>
                </a:solidFill>
                <a:latin typeface="+mj-lt"/>
              </a:rPr>
              <a:t>Áreas de </a:t>
            </a:r>
            <a:r>
              <a:rPr lang="es-CO" sz="4000" b="1" dirty="0" err="1">
                <a:solidFill>
                  <a:schemeClr val="accent4"/>
                </a:solidFill>
                <a:latin typeface="+mj-lt"/>
              </a:rPr>
              <a:t>Atuação</a:t>
            </a:r>
            <a:endParaRPr lang="es-CO" sz="4000" b="1" dirty="0">
              <a:solidFill>
                <a:schemeClr val="accent4"/>
              </a:solidFill>
              <a:latin typeface="+mj-lt"/>
            </a:endParaRPr>
          </a:p>
        </p:txBody>
      </p:sp>
      <p:pic>
        <p:nvPicPr>
          <p:cNvPr id="5" name="Imagen 6" descr="Logotipo&#10;&#10;Descripción generada automáticamente">
            <a:extLst>
              <a:ext uri="{FF2B5EF4-FFF2-40B4-BE49-F238E27FC236}">
                <a16:creationId xmlns:a16="http://schemas.microsoft.com/office/drawing/2014/main" id="{BE152872-CD33-8999-F092-BE772AB993D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63234" y="555958"/>
            <a:ext cx="2438401" cy="222846"/>
          </a:xfrm>
          <a:prstGeom prst="rect">
            <a:avLst/>
          </a:prstGeom>
        </p:spPr>
      </p:pic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3D2B4785-14F1-87C3-D25E-244A7EE50C51}"/>
              </a:ext>
            </a:extLst>
          </p:cNvPr>
          <p:cNvSpPr txBox="1">
            <a:spLocks/>
          </p:cNvSpPr>
          <p:nvPr/>
        </p:nvSpPr>
        <p:spPr>
          <a:xfrm>
            <a:off x="88492" y="1729624"/>
            <a:ext cx="11828206" cy="2694893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Archer Medium" pitchFamily="50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400" kern="1200">
                <a:solidFill>
                  <a:schemeClr val="tx1"/>
                </a:solidFill>
                <a:latin typeface="Archer Medium" pitchFamily="50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cher Medium" pitchFamily="50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cher Medium" pitchFamily="50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Archer Medium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just" fontAlgn="auto">
              <a:lnSpc>
                <a:spcPct val="120000"/>
              </a:lnSpc>
              <a:spcAft>
                <a:spcPts val="0"/>
              </a:spcAft>
              <a:buSzPct val="85000"/>
              <a:buFont typeface="Wingdings" panose="05000000000000000000" pitchFamily="2" charset="2"/>
              <a:buChar char="§"/>
            </a:pPr>
            <a:r>
              <a:rPr lang="pt-BR" sz="2800" dirty="0">
                <a:solidFill>
                  <a:schemeClr val="tx1">
                    <a:tint val="75000"/>
                  </a:schemeClr>
                </a:solidFill>
                <a:latin typeface="+mn-lt"/>
              </a:rPr>
              <a:t>Provedor global de soluções de energia, sistemas de tratamento de água, e controle de temperatura.</a:t>
            </a:r>
          </a:p>
          <a:p>
            <a:pPr lvl="1" algn="just" fontAlgn="auto">
              <a:lnSpc>
                <a:spcPct val="120000"/>
              </a:lnSpc>
              <a:spcAft>
                <a:spcPts val="0"/>
              </a:spcAft>
              <a:buSzPct val="85000"/>
              <a:buFont typeface="Wingdings" panose="05000000000000000000" pitchFamily="2" charset="2"/>
              <a:buChar char="§"/>
            </a:pPr>
            <a:r>
              <a:rPr lang="pt-BR" sz="2800" dirty="0">
                <a:solidFill>
                  <a:schemeClr val="tx1">
                    <a:tint val="75000"/>
                  </a:schemeClr>
                </a:solidFill>
                <a:latin typeface="+mn-lt"/>
              </a:rPr>
              <a:t>Levamos soluções para clientes no SIN, Sistemas Isolados e diversas indústrias, entregando energia confiável.</a:t>
            </a:r>
          </a:p>
          <a:p>
            <a:pPr lvl="1" algn="just" fontAlgn="auto">
              <a:lnSpc>
                <a:spcPct val="120000"/>
              </a:lnSpc>
              <a:spcAft>
                <a:spcPts val="0"/>
              </a:spcAft>
              <a:buSzPct val="85000"/>
              <a:buFont typeface="Wingdings" panose="05000000000000000000" pitchFamily="2" charset="2"/>
              <a:buChar char="§"/>
            </a:pPr>
            <a:r>
              <a:rPr lang="pt-BR" sz="2800" dirty="0">
                <a:solidFill>
                  <a:schemeClr val="tx1">
                    <a:tint val="75000"/>
                  </a:schemeClr>
                </a:solidFill>
                <a:latin typeface="+mn-lt"/>
              </a:rPr>
              <a:t>Fornecemos o projeto, instalação, operação e manutenção de nossas usinas de geração de energia, em diversas modalidades de contrato. </a:t>
            </a:r>
          </a:p>
          <a:p>
            <a:pPr marL="457200" lvl="1" indent="0" algn="just" fontAlgn="auto">
              <a:lnSpc>
                <a:spcPct val="120000"/>
              </a:lnSpc>
              <a:spcAft>
                <a:spcPts val="0"/>
              </a:spcAft>
              <a:buSzPct val="85000"/>
              <a:buNone/>
            </a:pPr>
            <a:endParaRPr lang="es-ES" sz="2000" dirty="0">
              <a:latin typeface="Calibri Light" panose="020F0302020204030204" pitchFamily="34" charset="0"/>
            </a:endParaRPr>
          </a:p>
          <a:p>
            <a:pPr lvl="1" algn="just" fontAlgn="auto">
              <a:lnSpc>
                <a:spcPct val="120000"/>
              </a:lnSpc>
              <a:spcAft>
                <a:spcPts val="0"/>
              </a:spcAft>
              <a:buSzPct val="85000"/>
              <a:buBlip>
                <a:blip r:embed="rId3"/>
              </a:buBlip>
            </a:pPr>
            <a:endParaRPr lang="es-ES" sz="2000" dirty="0">
              <a:latin typeface="Calibri Light" panose="020F0302020204030204" pitchFamily="34" charset="0"/>
            </a:endParaRPr>
          </a:p>
          <a:p>
            <a:pPr marL="457200" lvl="1" indent="0" fontAlgn="auto">
              <a:lnSpc>
                <a:spcPct val="120000"/>
              </a:lnSpc>
              <a:spcAft>
                <a:spcPts val="0"/>
              </a:spcAft>
              <a:buSzPct val="85000"/>
              <a:buNone/>
            </a:pPr>
            <a:r>
              <a:rPr lang="pt-BR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Calibri Light" panose="020F0302020204030204" pitchFamily="34" charset="0"/>
              </a:rPr>
              <a:t>.</a:t>
            </a:r>
            <a:endParaRPr lang="en-US" sz="1800" dirty="0">
              <a:solidFill>
                <a:schemeClr val="tx1">
                  <a:lumMod val="85000"/>
                  <a:lumOff val="15000"/>
                </a:schemeClr>
              </a:solidFill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79897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Enarsa - Bariloche, Argentina - SoEnergy">
            <a:extLst>
              <a:ext uri="{FF2B5EF4-FFF2-40B4-BE49-F238E27FC236}">
                <a16:creationId xmlns:a16="http://schemas.microsoft.com/office/drawing/2014/main" id="{B916B147-9358-FDD2-5544-A4F504FF119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500" r="24250"/>
          <a:stretch/>
        </p:blipFill>
        <p:spPr bwMode="auto">
          <a:xfrm>
            <a:off x="8116562" y="1088432"/>
            <a:ext cx="3719214" cy="48478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Isosceles Triangle 13">
            <a:extLst>
              <a:ext uri="{FF2B5EF4-FFF2-40B4-BE49-F238E27FC236}">
                <a16:creationId xmlns:a16="http://schemas.microsoft.com/office/drawing/2014/main" id="{31BCA7CD-DA67-7A27-FE22-4FC8B5B5CF91}"/>
              </a:ext>
            </a:extLst>
          </p:cNvPr>
          <p:cNvSpPr/>
          <p:nvPr/>
        </p:nvSpPr>
        <p:spPr>
          <a:xfrm>
            <a:off x="3996664" y="448651"/>
            <a:ext cx="5086350" cy="5487601"/>
          </a:xfrm>
          <a:prstGeom prst="triangle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DE56E0B1-89BF-825D-F469-9CACB361BC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8243E">
                    <a:tint val="75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Confidential</a:t>
            </a:r>
            <a:endParaRPr kumimoji="0" lang="es-CO" sz="1200" b="0" i="0" u="none" strike="noStrike" kern="1200" cap="none" spc="0" normalizeH="0" baseline="0" noProof="0" dirty="0">
              <a:ln>
                <a:noFill/>
              </a:ln>
              <a:solidFill>
                <a:srgbClr val="18243E">
                  <a:tint val="75000"/>
                </a:srgbClr>
              </a:solidFill>
              <a:effectLst/>
              <a:uLnTx/>
              <a:uFillTx/>
              <a:latin typeface="Inter"/>
              <a:ea typeface="+mn-ea"/>
              <a:cs typeface="+mn-cs"/>
            </a:endParaRP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FEFCF00D-5AC4-AAE3-5A74-282338E5DF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279CBC-B292-40E9-B1BF-CB5F5D21536A}" type="slidenum">
              <a:rPr kumimoji="0" lang="es-CO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8243E">
                    <a:tint val="75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s-CO" sz="1200" b="0" i="0" u="none" strike="noStrike" kern="1200" cap="none" spc="0" normalizeH="0" baseline="0" noProof="0">
              <a:ln>
                <a:noFill/>
              </a:ln>
              <a:solidFill>
                <a:srgbClr val="18243E">
                  <a:tint val="75000"/>
                </a:srgbClr>
              </a:solidFill>
              <a:effectLst/>
              <a:uLnTx/>
              <a:uFillTx/>
              <a:latin typeface="Inter"/>
              <a:ea typeface="+mn-ea"/>
              <a:cs typeface="+mn-cs"/>
            </a:endParaRPr>
          </a:p>
        </p:txBody>
      </p:sp>
      <p:sp>
        <p:nvSpPr>
          <p:cNvPr id="4" name="Título 5">
            <a:extLst>
              <a:ext uri="{FF2B5EF4-FFF2-40B4-BE49-F238E27FC236}">
                <a16:creationId xmlns:a16="http://schemas.microsoft.com/office/drawing/2014/main" id="{D1E3E866-3394-9ACA-85B7-FA03BC6639FE}"/>
              </a:ext>
            </a:extLst>
          </p:cNvPr>
          <p:cNvSpPr txBox="1">
            <a:spLocks/>
          </p:cNvSpPr>
          <p:nvPr/>
        </p:nvSpPr>
        <p:spPr>
          <a:xfrm>
            <a:off x="196643" y="244779"/>
            <a:ext cx="11353800" cy="1157167"/>
          </a:xfrm>
          <a:prstGeom prst="rect">
            <a:avLst/>
          </a:prstGeom>
        </p:spPr>
        <p:txBody>
          <a:bodyPr lIns="91440" tIns="45720" rIns="91440" bIns="45720" anchor="t"/>
          <a:lstStyle>
            <a:defPPr>
              <a:defRPr lang="es-CO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3600">
                <a:solidFill>
                  <a:srgbClr val="F9A81D"/>
                </a:solidFill>
                <a:latin typeface="Calibri Light" panose="020F0302020204030204"/>
                <a:ea typeface="+mj-ea"/>
                <a:cs typeface="Calibri Ligh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419" sz="4000" b="1" i="1" dirty="0">
                <a:solidFill>
                  <a:srgbClr val="F9A81E"/>
                </a:solidFill>
                <a:latin typeface="Inter ExtraBold"/>
              </a:rPr>
              <a:t>Energy as a </a:t>
            </a:r>
            <a:r>
              <a:rPr lang="es-419" sz="4000" b="1" i="1" dirty="0" err="1">
                <a:solidFill>
                  <a:srgbClr val="F9A81E"/>
                </a:solidFill>
                <a:latin typeface="Inter ExtraBold"/>
              </a:rPr>
              <a:t>Service</a:t>
            </a:r>
            <a:endParaRPr lang="es-419" sz="4000" b="1" i="1" dirty="0">
              <a:solidFill>
                <a:srgbClr val="F9A81E"/>
              </a:solidFill>
              <a:latin typeface="Inter ExtraBold"/>
            </a:endParaRPr>
          </a:p>
        </p:txBody>
      </p:sp>
      <p:pic>
        <p:nvPicPr>
          <p:cNvPr id="17" name="Imagen 6" descr="Logotipo&#10;&#10;Descripción generada automáticamente">
            <a:extLst>
              <a:ext uri="{FF2B5EF4-FFF2-40B4-BE49-F238E27FC236}">
                <a16:creationId xmlns:a16="http://schemas.microsoft.com/office/drawing/2014/main" id="{C34DE448-12F2-0F44-02FF-F670A86880BB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63234" y="555958"/>
            <a:ext cx="2438401" cy="222846"/>
          </a:xfrm>
          <a:prstGeom prst="rect">
            <a:avLst/>
          </a:prstGeom>
        </p:spPr>
      </p:pic>
      <p:sp>
        <p:nvSpPr>
          <p:cNvPr id="5" name="TextBox 52">
            <a:extLst>
              <a:ext uri="{FF2B5EF4-FFF2-40B4-BE49-F238E27FC236}">
                <a16:creationId xmlns:a16="http://schemas.microsoft.com/office/drawing/2014/main" id="{9DDC9AD6-216F-D83A-5932-8124C0D3AD7F}"/>
              </a:ext>
            </a:extLst>
          </p:cNvPr>
          <p:cNvSpPr txBox="1"/>
          <p:nvPr/>
        </p:nvSpPr>
        <p:spPr>
          <a:xfrm>
            <a:off x="196643" y="978176"/>
            <a:ext cx="8268930" cy="472437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rgbClr val="003F7B"/>
              </a:buClr>
              <a:defRPr/>
            </a:pPr>
            <a:endParaRPr lang="en-US" b="1" dirty="0">
              <a:solidFill>
                <a:schemeClr val="bg2">
                  <a:lumMod val="50000"/>
                </a:schemeClr>
              </a:solidFill>
              <a:ea typeface="+mn-lt"/>
              <a:cs typeface="+mn-lt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3F7B"/>
              </a:buClr>
              <a:defRPr/>
            </a:pPr>
            <a:r>
              <a:rPr lang="en-US" b="1" dirty="0" err="1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Plantas</a:t>
            </a:r>
            <a:r>
              <a:rPr lang="en-US" b="1" dirty="0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 de </a:t>
            </a:r>
            <a:r>
              <a:rPr lang="en-US" b="1" dirty="0" err="1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geração</a:t>
            </a:r>
            <a:r>
              <a:rPr lang="en-US" b="1" dirty="0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 de </a:t>
            </a:r>
            <a:r>
              <a:rPr lang="en-US" b="1" dirty="0" err="1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energia</a:t>
            </a:r>
            <a:r>
              <a:rPr lang="en-US" b="1" dirty="0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 Multi-MW</a:t>
            </a: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3F7B"/>
              </a:buClr>
              <a:defRPr/>
            </a:pPr>
            <a:endParaRPr lang="en-US" b="1" dirty="0">
              <a:solidFill>
                <a:srgbClr val="FFC000"/>
              </a:solidFill>
              <a:ea typeface="+mn-lt"/>
              <a:cs typeface="+mn-lt"/>
            </a:endParaRPr>
          </a:p>
          <a:p>
            <a:pPr algn="just">
              <a:spcBef>
                <a:spcPts val="300"/>
              </a:spcBef>
              <a:spcAft>
                <a:spcPts val="300"/>
              </a:spcAft>
              <a:buClr>
                <a:srgbClr val="003F7B"/>
              </a:buClr>
              <a:defRPr/>
            </a:pPr>
            <a:r>
              <a:rPr lang="en-US" b="1" dirty="0" err="1">
                <a:solidFill>
                  <a:srgbClr val="F9A81E"/>
                </a:solidFill>
                <a:ea typeface="+mn-lt"/>
                <a:cs typeface="+mn-lt"/>
              </a:rPr>
              <a:t>Soluções</a:t>
            </a:r>
            <a:r>
              <a:rPr lang="en-US" b="1" dirty="0">
                <a:solidFill>
                  <a:srgbClr val="F9A81E"/>
                </a:solidFill>
                <a:ea typeface="+mn-lt"/>
                <a:cs typeface="+mn-lt"/>
              </a:rPr>
              <a:t> </a:t>
            </a:r>
            <a:r>
              <a:rPr lang="en-US" b="1" dirty="0" err="1">
                <a:solidFill>
                  <a:srgbClr val="F9A81E"/>
                </a:solidFill>
                <a:ea typeface="+mn-lt"/>
                <a:cs typeface="+mn-lt"/>
              </a:rPr>
              <a:t>temporárias</a:t>
            </a:r>
            <a:endParaRPr lang="en-US" dirty="0">
              <a:solidFill>
                <a:srgbClr val="F9A81E"/>
              </a:solidFill>
              <a:ea typeface="+mn-lt"/>
              <a:cs typeface="+mn-lt"/>
            </a:endParaRPr>
          </a:p>
          <a:p>
            <a:pPr marL="285750" indent="-285750" algn="just">
              <a:spcBef>
                <a:spcPts val="300"/>
              </a:spcBef>
              <a:spcAft>
                <a:spcPts val="300"/>
              </a:spcAft>
              <a:buClr>
                <a:srgbClr val="003F7B"/>
              </a:buClr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Tempo 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contratual</a:t>
            </a:r>
            <a:r>
              <a:rPr lang="en-US" sz="1600" dirty="0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: 6 meses a ~ 3 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anos</a:t>
            </a:r>
            <a:r>
              <a:rPr lang="en-US" sz="1600" dirty="0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 (</a:t>
            </a:r>
            <a:r>
              <a:rPr lang="en-US" sz="1600" i="1" dirty="0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fast track</a:t>
            </a:r>
            <a:r>
              <a:rPr lang="en-US" sz="1600" dirty="0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)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rgbClr val="003F7B"/>
              </a:buClr>
              <a:buFont typeface="Arial" panose="020B0604020202020204" pitchFamily="34" charset="0"/>
              <a:buChar char="•"/>
              <a:defRPr/>
            </a:pP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Escopo</a:t>
            </a:r>
            <a:r>
              <a:rPr lang="en-US" sz="1600" dirty="0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: 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Engenharia</a:t>
            </a:r>
            <a:r>
              <a:rPr lang="en-US" sz="1600" dirty="0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, 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Mobilização</a:t>
            </a:r>
            <a:r>
              <a:rPr lang="en-US" sz="1600" dirty="0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, 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Instalação</a:t>
            </a:r>
            <a:r>
              <a:rPr lang="en-US" sz="1600" dirty="0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, </a:t>
            </a:r>
            <a:r>
              <a:rPr lang="en-US" sz="1600" b="1" dirty="0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Capex and </a:t>
            </a:r>
            <a:r>
              <a:rPr lang="en-US" sz="1600" b="1" dirty="0" err="1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Opex</a:t>
            </a:r>
            <a:r>
              <a:rPr lang="en-US" sz="1600" b="1" dirty="0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, O&amp;M,</a:t>
            </a:r>
            <a:r>
              <a:rPr lang="en-US" sz="1600" dirty="0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 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Desmobilização</a:t>
            </a:r>
            <a:endParaRPr lang="en-US" sz="1600" dirty="0">
              <a:solidFill>
                <a:schemeClr val="bg2">
                  <a:lumMod val="50000"/>
                </a:schemeClr>
              </a:solidFill>
              <a:ea typeface="+mn-lt"/>
              <a:cs typeface="+mn-lt"/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rgbClr val="003F7B"/>
              </a:buClr>
              <a:buFont typeface="Arial" panose="020B0604020202020204" pitchFamily="34" charset="0"/>
              <a:buChar char="•"/>
              <a:defRPr/>
            </a:pP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Formação</a:t>
            </a:r>
            <a:r>
              <a:rPr lang="en-US" sz="1600" dirty="0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 de 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preços</a:t>
            </a:r>
            <a:r>
              <a:rPr lang="en-US" sz="1600" dirty="0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: 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Fixo</a:t>
            </a:r>
            <a:r>
              <a:rPr lang="en-US" sz="1600" dirty="0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 (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Capacidade</a:t>
            </a:r>
            <a:r>
              <a:rPr lang="en-US" sz="1600" dirty="0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) + 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Variável</a:t>
            </a:r>
            <a:r>
              <a:rPr lang="en-US" sz="1600" dirty="0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 (Energia) + 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Mobilização</a:t>
            </a:r>
            <a:r>
              <a:rPr lang="en-US" sz="1600" dirty="0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 e 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Desmobilização</a:t>
            </a:r>
            <a:endParaRPr lang="en-US" sz="1600" dirty="0">
              <a:solidFill>
                <a:schemeClr val="bg2">
                  <a:lumMod val="50000"/>
                </a:schemeClr>
              </a:solidFill>
              <a:ea typeface="+mn-lt"/>
              <a:cs typeface="+mn-lt"/>
            </a:endParaRPr>
          </a:p>
          <a:p>
            <a:pPr algn="just">
              <a:spcBef>
                <a:spcPts val="300"/>
              </a:spcBef>
              <a:spcAft>
                <a:spcPts val="300"/>
              </a:spcAft>
              <a:buClr>
                <a:srgbClr val="003F7B"/>
              </a:buClr>
              <a:defRPr/>
            </a:pPr>
            <a:endParaRPr lang="en-US" b="1" dirty="0">
              <a:solidFill>
                <a:schemeClr val="accent4"/>
              </a:solidFill>
              <a:ea typeface="+mn-lt"/>
              <a:cs typeface="+mn-lt"/>
            </a:endParaRPr>
          </a:p>
          <a:p>
            <a:pPr algn="just">
              <a:spcBef>
                <a:spcPts val="300"/>
              </a:spcBef>
              <a:spcAft>
                <a:spcPts val="300"/>
              </a:spcAft>
              <a:buClr>
                <a:srgbClr val="003F7B"/>
              </a:buClr>
              <a:defRPr/>
            </a:pPr>
            <a:r>
              <a:rPr lang="en-US" b="1" dirty="0" err="1">
                <a:solidFill>
                  <a:srgbClr val="F9A81E"/>
                </a:solidFill>
                <a:ea typeface="+mn-lt"/>
                <a:cs typeface="+mn-lt"/>
              </a:rPr>
              <a:t>Soluções</a:t>
            </a:r>
            <a:r>
              <a:rPr lang="en-US" b="1" dirty="0">
                <a:solidFill>
                  <a:srgbClr val="F9A81E"/>
                </a:solidFill>
                <a:ea typeface="+mn-lt"/>
                <a:cs typeface="+mn-lt"/>
              </a:rPr>
              <a:t> </a:t>
            </a:r>
            <a:r>
              <a:rPr lang="en-US" b="1" dirty="0" err="1">
                <a:solidFill>
                  <a:srgbClr val="F9A81E"/>
                </a:solidFill>
                <a:ea typeface="+mn-lt"/>
                <a:cs typeface="+mn-lt"/>
              </a:rPr>
              <a:t>Permanentes</a:t>
            </a:r>
            <a:endParaRPr lang="en-US" b="1" dirty="0">
              <a:solidFill>
                <a:srgbClr val="F9A81E"/>
              </a:solidFill>
              <a:ea typeface="+mn-lt"/>
              <a:cs typeface="+mn-lt"/>
            </a:endParaRPr>
          </a:p>
          <a:p>
            <a:pPr marL="285750" indent="-285750" algn="just">
              <a:spcBef>
                <a:spcPts val="300"/>
              </a:spcBef>
              <a:spcAft>
                <a:spcPts val="300"/>
              </a:spcAft>
              <a:buClr>
                <a:srgbClr val="003F7B"/>
              </a:buClr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Tempo 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contratual</a:t>
            </a:r>
            <a:r>
              <a:rPr lang="en-US" sz="1600" dirty="0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 : 3 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anos</a:t>
            </a:r>
            <a:r>
              <a:rPr lang="en-US" sz="1600" dirty="0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 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em</a:t>
            </a:r>
            <a:r>
              <a:rPr lang="en-US" sz="1600" dirty="0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 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diante</a:t>
            </a:r>
            <a:endParaRPr lang="en-US" sz="1600" dirty="0">
              <a:solidFill>
                <a:schemeClr val="bg2">
                  <a:lumMod val="50000"/>
                </a:schemeClr>
              </a:solidFill>
              <a:ea typeface="+mn-lt"/>
              <a:cs typeface="+mn-lt"/>
            </a:endParaRPr>
          </a:p>
          <a:p>
            <a:pPr marL="285750" indent="-285750" algn="just">
              <a:spcBef>
                <a:spcPts val="300"/>
              </a:spcBef>
              <a:spcAft>
                <a:spcPts val="300"/>
              </a:spcAft>
              <a:buClr>
                <a:srgbClr val="003F7B"/>
              </a:buClr>
              <a:buFont typeface="Arial" panose="020B0604020202020204" pitchFamily="34" charset="0"/>
              <a:buChar char="•"/>
              <a:defRPr/>
            </a:pP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Escopo</a:t>
            </a:r>
            <a:r>
              <a:rPr lang="en-US" sz="1600" dirty="0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: 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Engenharia</a:t>
            </a:r>
            <a:r>
              <a:rPr lang="en-US" sz="1600" dirty="0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, 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Mobilização</a:t>
            </a:r>
            <a:r>
              <a:rPr lang="en-US" sz="1600" dirty="0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, 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Instalação</a:t>
            </a:r>
            <a:r>
              <a:rPr lang="en-US" sz="1600" dirty="0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, </a:t>
            </a:r>
            <a:r>
              <a:rPr lang="en-US" sz="1600" b="1" dirty="0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Capex and </a:t>
            </a:r>
            <a:r>
              <a:rPr lang="en-US" sz="1600" b="1" dirty="0" err="1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Opex</a:t>
            </a:r>
            <a:r>
              <a:rPr lang="en-US" sz="1600" b="1" dirty="0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, O&amp;M </a:t>
            </a:r>
          </a:p>
          <a:p>
            <a:pPr marL="285750" indent="-285750" algn="just">
              <a:spcBef>
                <a:spcPts val="300"/>
              </a:spcBef>
              <a:spcAft>
                <a:spcPts val="300"/>
              </a:spcAft>
              <a:buClr>
                <a:srgbClr val="003F7B"/>
              </a:buClr>
              <a:buFont typeface="Arial" panose="020B0604020202020204" pitchFamily="34" charset="0"/>
              <a:buChar char="•"/>
              <a:defRPr/>
            </a:pP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Formação</a:t>
            </a:r>
            <a:r>
              <a:rPr lang="en-US" sz="1600" dirty="0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 de 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preços</a:t>
            </a:r>
            <a:r>
              <a:rPr lang="en-US" sz="1600" dirty="0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 : de </a:t>
            </a:r>
            <a:r>
              <a:rPr lang="en-US" sz="1600" dirty="0" err="1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acordo</a:t>
            </a:r>
            <a:r>
              <a:rPr lang="en-US" sz="1600" dirty="0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 com o </a:t>
            </a:r>
            <a:r>
              <a:rPr lang="en-US" sz="1600" i="1" dirty="0">
                <a:solidFill>
                  <a:schemeClr val="bg2">
                    <a:lumMod val="50000"/>
                  </a:schemeClr>
                </a:solidFill>
                <a:ea typeface="+mn-lt"/>
                <a:cs typeface="+mn-lt"/>
              </a:rPr>
              <a:t>PPA (purchase power agreement) </a:t>
            </a:r>
          </a:p>
          <a:p>
            <a:pPr marL="285750" indent="-285750" algn="just">
              <a:spcBef>
                <a:spcPts val="300"/>
              </a:spcBef>
              <a:spcAft>
                <a:spcPts val="300"/>
              </a:spcAft>
              <a:buClr>
                <a:srgbClr val="003F7B"/>
              </a:buClr>
              <a:buFont typeface="Arial" panose="020B0604020202020204" pitchFamily="34" charset="0"/>
              <a:buChar char="•"/>
              <a:defRPr/>
            </a:pPr>
            <a:endParaRPr lang="en-US" sz="1600" dirty="0">
              <a:ea typeface="+mn-lt"/>
              <a:cs typeface="+mn-lt"/>
            </a:endParaRPr>
          </a:p>
          <a:p>
            <a:pPr marL="285750" indent="-285750" algn="just">
              <a:spcBef>
                <a:spcPts val="300"/>
              </a:spcBef>
              <a:spcAft>
                <a:spcPts val="300"/>
              </a:spcAft>
              <a:buClr>
                <a:srgbClr val="003F7B"/>
              </a:buClr>
              <a:buFont typeface="Arial" panose="020B0604020202020204" pitchFamily="34" charset="0"/>
              <a:buChar char="•"/>
              <a:defRPr/>
            </a:pPr>
            <a:endParaRPr lang="en-US" sz="1600" dirty="0">
              <a:solidFill>
                <a:srgbClr val="121212"/>
              </a:solidFill>
              <a:ea typeface="+mn-lt"/>
              <a:cs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370993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ie de página 3">
            <a:extLst>
              <a:ext uri="{FF2B5EF4-FFF2-40B4-BE49-F238E27FC236}">
                <a16:creationId xmlns:a16="http://schemas.microsoft.com/office/drawing/2014/main" id="{D80003A6-B42B-C47A-DFAB-852792D040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5"/>
            <a:ext cx="4114800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 Confidential</a:t>
            </a:r>
            <a:endParaRPr kumimoji="0" lang="es-CO" sz="1200" b="0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75000"/>
                </a:schemeClr>
              </a:solidFill>
              <a:effectLst/>
              <a:uLnTx/>
              <a:uFillTx/>
              <a:latin typeface="Inter"/>
              <a:ea typeface="+mn-ea"/>
              <a:cs typeface="+mn-cs"/>
            </a:endParaRPr>
          </a:p>
        </p:txBody>
      </p:sp>
      <p:pic>
        <p:nvPicPr>
          <p:cNvPr id="5" name="Imagen 6" descr="Logotipo&#10;&#10;Descripción generada automáticamente">
            <a:extLst>
              <a:ext uri="{FF2B5EF4-FFF2-40B4-BE49-F238E27FC236}">
                <a16:creationId xmlns:a16="http://schemas.microsoft.com/office/drawing/2014/main" id="{BE152872-CD33-8999-F092-BE772AB993D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63234" y="555958"/>
            <a:ext cx="2438401" cy="222846"/>
          </a:xfrm>
          <a:prstGeom prst="rect">
            <a:avLst/>
          </a:prstGeom>
        </p:spPr>
      </p:pic>
      <p:sp>
        <p:nvSpPr>
          <p:cNvPr id="33" name="CuadroTexto 32">
            <a:extLst>
              <a:ext uri="{FF2B5EF4-FFF2-40B4-BE49-F238E27FC236}">
                <a16:creationId xmlns:a16="http://schemas.microsoft.com/office/drawing/2014/main" id="{1BE6E0AD-15F2-7A7D-F960-D03D1713BE63}"/>
              </a:ext>
            </a:extLst>
          </p:cNvPr>
          <p:cNvSpPr txBox="1"/>
          <p:nvPr/>
        </p:nvSpPr>
        <p:spPr>
          <a:xfrm>
            <a:off x="591624" y="555958"/>
            <a:ext cx="644827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 err="1">
                <a:solidFill>
                  <a:srgbClr val="FAA81D"/>
                </a:solidFill>
                <a:latin typeface="+mj-lt"/>
              </a:rPr>
              <a:t>Experiência</a:t>
            </a:r>
            <a:r>
              <a:rPr lang="en-US" sz="4000" b="1" dirty="0">
                <a:solidFill>
                  <a:srgbClr val="FAA81D"/>
                </a:solidFill>
                <a:latin typeface="+mj-lt"/>
              </a:rPr>
              <a:t> Global SoEnergy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D698EE0F-BE18-5970-7DD5-DD7CBE517C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1623" y="1263844"/>
            <a:ext cx="10987763" cy="4835003"/>
          </a:xfrm>
          <a:prstGeom prst="rect">
            <a:avLst/>
          </a:prstGeom>
        </p:spPr>
      </p:pic>
      <p:sp>
        <p:nvSpPr>
          <p:cNvPr id="3" name="Text Box 6">
            <a:extLst>
              <a:ext uri="{FF2B5EF4-FFF2-40B4-BE49-F238E27FC236}">
                <a16:creationId xmlns:a16="http://schemas.microsoft.com/office/drawing/2014/main" id="{D20C4E2B-DFF1-0E92-C02D-B5A54FF1E83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84835" y="2849220"/>
            <a:ext cx="1667621" cy="1852431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92075" tIns="46038" rIns="92075" bIns="46038">
            <a:spAutoFit/>
          </a:bodyPr>
          <a:lstStyle/>
          <a:p>
            <a:pPr algn="l" defTabSz="1104900">
              <a:spcBef>
                <a:spcPts val="0"/>
              </a:spcBef>
              <a:spcAft>
                <a:spcPts val="500"/>
              </a:spcAft>
            </a:pPr>
            <a:r>
              <a:rPr lang="en-US" sz="900" dirty="0">
                <a:solidFill>
                  <a:srgbClr val="0AAE9D"/>
                </a:solidFill>
                <a:cs typeface="Arial" pitchFamily="34" charset="0"/>
              </a:rPr>
              <a:t>USA – Headquarter</a:t>
            </a:r>
          </a:p>
          <a:p>
            <a:pPr algn="l" defTabSz="1104900">
              <a:spcBef>
                <a:spcPts val="0"/>
              </a:spcBef>
              <a:spcAft>
                <a:spcPts val="500"/>
              </a:spcAft>
            </a:pPr>
            <a:r>
              <a:rPr lang="en-US" sz="900" dirty="0">
                <a:solidFill>
                  <a:srgbClr val="0AAE9D"/>
                </a:solidFill>
                <a:cs typeface="Arial" pitchFamily="34" charset="0"/>
              </a:rPr>
              <a:t>Mexico</a:t>
            </a:r>
          </a:p>
          <a:p>
            <a:pPr algn="l" defTabSz="1104900">
              <a:spcBef>
                <a:spcPts val="0"/>
              </a:spcBef>
              <a:spcAft>
                <a:spcPts val="500"/>
              </a:spcAft>
            </a:pPr>
            <a:r>
              <a:rPr lang="en-US" sz="900" dirty="0">
                <a:solidFill>
                  <a:srgbClr val="0AAE9D"/>
                </a:solidFill>
                <a:cs typeface="Arial" pitchFamily="34" charset="0"/>
              </a:rPr>
              <a:t>Belize</a:t>
            </a:r>
          </a:p>
          <a:p>
            <a:pPr algn="l" defTabSz="1104900">
              <a:spcBef>
                <a:spcPts val="0"/>
              </a:spcBef>
              <a:spcAft>
                <a:spcPts val="500"/>
              </a:spcAft>
            </a:pPr>
            <a:r>
              <a:rPr lang="en-US" sz="900" dirty="0">
                <a:solidFill>
                  <a:srgbClr val="0AAE9D"/>
                </a:solidFill>
                <a:cs typeface="Arial" pitchFamily="34" charset="0"/>
              </a:rPr>
              <a:t>Guatemala</a:t>
            </a:r>
          </a:p>
          <a:p>
            <a:pPr algn="l" defTabSz="1104900">
              <a:spcBef>
                <a:spcPts val="0"/>
              </a:spcBef>
              <a:spcAft>
                <a:spcPts val="500"/>
              </a:spcAft>
            </a:pPr>
            <a:r>
              <a:rPr lang="en-US" sz="900" dirty="0">
                <a:solidFill>
                  <a:srgbClr val="0AAE9D"/>
                </a:solidFill>
                <a:cs typeface="Arial" pitchFamily="34" charset="0"/>
              </a:rPr>
              <a:t>Honduras</a:t>
            </a:r>
          </a:p>
          <a:p>
            <a:pPr algn="l" defTabSz="1104900">
              <a:spcBef>
                <a:spcPts val="0"/>
              </a:spcBef>
              <a:spcAft>
                <a:spcPts val="500"/>
              </a:spcAft>
            </a:pPr>
            <a:r>
              <a:rPr lang="en-US" sz="900" dirty="0">
                <a:solidFill>
                  <a:srgbClr val="0AAE9D"/>
                </a:solidFill>
                <a:cs typeface="Arial" pitchFamily="34" charset="0"/>
              </a:rPr>
              <a:t>El Salvador</a:t>
            </a:r>
          </a:p>
          <a:p>
            <a:pPr algn="l" defTabSz="1104900">
              <a:spcBef>
                <a:spcPts val="0"/>
              </a:spcBef>
              <a:spcAft>
                <a:spcPts val="500"/>
              </a:spcAft>
            </a:pPr>
            <a:r>
              <a:rPr lang="en-US" sz="900" dirty="0">
                <a:solidFill>
                  <a:srgbClr val="0AAE9D"/>
                </a:solidFill>
                <a:cs typeface="Arial" pitchFamily="34" charset="0"/>
              </a:rPr>
              <a:t>Nicaragua</a:t>
            </a:r>
          </a:p>
          <a:p>
            <a:pPr algn="l" defTabSz="1104900">
              <a:spcBef>
                <a:spcPts val="0"/>
              </a:spcBef>
              <a:spcAft>
                <a:spcPts val="500"/>
              </a:spcAft>
            </a:pPr>
            <a:r>
              <a:rPr lang="en-US" sz="900" dirty="0">
                <a:solidFill>
                  <a:srgbClr val="0AAE9D"/>
                </a:solidFill>
                <a:cs typeface="Arial" pitchFamily="34" charset="0"/>
              </a:rPr>
              <a:t>Costa Rica</a:t>
            </a:r>
          </a:p>
          <a:p>
            <a:pPr algn="l" defTabSz="1104900">
              <a:spcBef>
                <a:spcPts val="0"/>
              </a:spcBef>
              <a:spcAft>
                <a:spcPts val="500"/>
              </a:spcAft>
            </a:pPr>
            <a:r>
              <a:rPr lang="en-US" sz="900" dirty="0">
                <a:solidFill>
                  <a:srgbClr val="0AAE9D"/>
                </a:solidFill>
                <a:cs typeface="Arial" pitchFamily="34" charset="0"/>
              </a:rPr>
              <a:t>Panama</a:t>
            </a:r>
          </a:p>
        </p:txBody>
      </p:sp>
      <p:sp>
        <p:nvSpPr>
          <p:cNvPr id="6" name="Text Box 6">
            <a:extLst>
              <a:ext uri="{FF2B5EF4-FFF2-40B4-BE49-F238E27FC236}">
                <a16:creationId xmlns:a16="http://schemas.microsoft.com/office/drawing/2014/main" id="{2B51FBD9-47DF-A905-016F-2FAED7545AB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72385" y="4175069"/>
            <a:ext cx="1667621" cy="1447192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92075" tIns="46038" rIns="92075" bIns="46038">
            <a:spAutoFit/>
          </a:bodyPr>
          <a:lstStyle/>
          <a:p>
            <a:pPr algn="l" defTabSz="1104900">
              <a:spcBef>
                <a:spcPts val="0"/>
              </a:spcBef>
              <a:spcAft>
                <a:spcPts val="500"/>
              </a:spcAft>
            </a:pPr>
            <a:r>
              <a:rPr lang="en-US" sz="900" dirty="0">
                <a:solidFill>
                  <a:srgbClr val="0AAE9D"/>
                </a:solidFill>
                <a:cs typeface="Arial" pitchFamily="34" charset="0"/>
              </a:rPr>
              <a:t>Bahamas</a:t>
            </a:r>
          </a:p>
          <a:p>
            <a:pPr algn="l" defTabSz="1104900">
              <a:spcBef>
                <a:spcPts val="0"/>
              </a:spcBef>
              <a:spcAft>
                <a:spcPts val="500"/>
              </a:spcAft>
            </a:pPr>
            <a:r>
              <a:rPr lang="en-US" sz="900" dirty="0">
                <a:solidFill>
                  <a:srgbClr val="0AAE9D"/>
                </a:solidFill>
                <a:cs typeface="Arial" pitchFamily="34" charset="0"/>
              </a:rPr>
              <a:t>Haiti</a:t>
            </a:r>
          </a:p>
          <a:p>
            <a:pPr algn="l" defTabSz="1104900">
              <a:spcBef>
                <a:spcPts val="0"/>
              </a:spcBef>
              <a:spcAft>
                <a:spcPts val="500"/>
              </a:spcAft>
            </a:pPr>
            <a:r>
              <a:rPr lang="en-US" sz="900" dirty="0">
                <a:solidFill>
                  <a:srgbClr val="0AAE9D"/>
                </a:solidFill>
                <a:cs typeface="Arial" pitchFamily="34" charset="0"/>
              </a:rPr>
              <a:t>Puerto Rico</a:t>
            </a:r>
          </a:p>
          <a:p>
            <a:pPr algn="l" defTabSz="1104900">
              <a:spcBef>
                <a:spcPts val="0"/>
              </a:spcBef>
              <a:spcAft>
                <a:spcPts val="500"/>
              </a:spcAft>
            </a:pPr>
            <a:r>
              <a:rPr lang="en-US" sz="900" dirty="0">
                <a:solidFill>
                  <a:srgbClr val="0AAE9D"/>
                </a:solidFill>
                <a:cs typeface="Arial" pitchFamily="34" charset="0"/>
              </a:rPr>
              <a:t>Barbados</a:t>
            </a:r>
          </a:p>
          <a:p>
            <a:pPr algn="l" defTabSz="1104900">
              <a:spcBef>
                <a:spcPts val="0"/>
              </a:spcBef>
              <a:spcAft>
                <a:spcPts val="500"/>
              </a:spcAft>
            </a:pPr>
            <a:r>
              <a:rPr lang="en-US" sz="900" dirty="0">
                <a:solidFill>
                  <a:srgbClr val="0AAE9D"/>
                </a:solidFill>
                <a:cs typeface="Arial" pitchFamily="34" charset="0"/>
              </a:rPr>
              <a:t>Grenada</a:t>
            </a:r>
          </a:p>
          <a:p>
            <a:pPr defTabSz="1104900">
              <a:spcAft>
                <a:spcPts val="500"/>
              </a:spcAft>
            </a:pPr>
            <a:r>
              <a:rPr lang="en-US" sz="900" dirty="0">
                <a:solidFill>
                  <a:srgbClr val="0AAE9D"/>
                </a:solidFill>
                <a:cs typeface="Arial" pitchFamily="34" charset="0"/>
              </a:rPr>
              <a:t>Dominican Republic</a:t>
            </a:r>
          </a:p>
          <a:p>
            <a:pPr algn="l" defTabSz="1104900">
              <a:spcBef>
                <a:spcPts val="0"/>
              </a:spcBef>
              <a:spcAft>
                <a:spcPts val="500"/>
              </a:spcAft>
            </a:pPr>
            <a:r>
              <a:rPr lang="en-US" sz="900" dirty="0">
                <a:solidFill>
                  <a:srgbClr val="0AAE9D"/>
                </a:solidFill>
                <a:cs typeface="Arial" pitchFamily="34" charset="0"/>
              </a:rPr>
              <a:t>Trinidad and Tobago</a:t>
            </a:r>
          </a:p>
        </p:txBody>
      </p:sp>
      <p:sp>
        <p:nvSpPr>
          <p:cNvPr id="7" name="Text Box 6">
            <a:extLst>
              <a:ext uri="{FF2B5EF4-FFF2-40B4-BE49-F238E27FC236}">
                <a16:creationId xmlns:a16="http://schemas.microsoft.com/office/drawing/2014/main" id="{FF27BF72-519D-391D-A9CC-EB7F6F6A2EA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77501" y="4175069"/>
            <a:ext cx="911433" cy="2031968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92075" tIns="46038" rIns="92075" bIns="46038">
            <a:spAutoFit/>
          </a:bodyPr>
          <a:lstStyle/>
          <a:p>
            <a:pPr defTabSz="1104900">
              <a:spcAft>
                <a:spcPts val="500"/>
              </a:spcAft>
            </a:pPr>
            <a:r>
              <a:rPr lang="en-US" sz="900" dirty="0">
                <a:solidFill>
                  <a:srgbClr val="0AAE9D"/>
                </a:solidFill>
                <a:cs typeface="Arial" pitchFamily="34" charset="0"/>
              </a:rPr>
              <a:t>Colombia </a:t>
            </a:r>
          </a:p>
          <a:p>
            <a:pPr defTabSz="1104900">
              <a:spcAft>
                <a:spcPts val="500"/>
              </a:spcAft>
            </a:pPr>
            <a:r>
              <a:rPr lang="en-US" sz="900" dirty="0">
                <a:solidFill>
                  <a:srgbClr val="0AAE9D"/>
                </a:solidFill>
                <a:cs typeface="Arial" pitchFamily="34" charset="0"/>
              </a:rPr>
              <a:t>Venezuela</a:t>
            </a:r>
          </a:p>
          <a:p>
            <a:pPr defTabSz="1104900">
              <a:spcAft>
                <a:spcPts val="500"/>
              </a:spcAft>
            </a:pPr>
            <a:r>
              <a:rPr lang="en-US" sz="900" dirty="0">
                <a:solidFill>
                  <a:srgbClr val="0AAE9D"/>
                </a:solidFill>
                <a:cs typeface="Arial" pitchFamily="34" charset="0"/>
              </a:rPr>
              <a:t>Guyana</a:t>
            </a:r>
          </a:p>
          <a:p>
            <a:pPr defTabSz="1104900">
              <a:spcAft>
                <a:spcPts val="500"/>
              </a:spcAft>
            </a:pPr>
            <a:r>
              <a:rPr lang="en-US" sz="900" dirty="0">
                <a:solidFill>
                  <a:srgbClr val="0AAE9D"/>
                </a:solidFill>
                <a:cs typeface="Arial" pitchFamily="34" charset="0"/>
              </a:rPr>
              <a:t>Suriname</a:t>
            </a:r>
          </a:p>
          <a:p>
            <a:pPr defTabSz="1104900">
              <a:spcAft>
                <a:spcPts val="500"/>
              </a:spcAft>
            </a:pPr>
            <a:r>
              <a:rPr lang="en-US" sz="900" dirty="0">
                <a:solidFill>
                  <a:srgbClr val="0AAE9D"/>
                </a:solidFill>
                <a:cs typeface="Arial" pitchFamily="34" charset="0"/>
              </a:rPr>
              <a:t>Ecuador</a:t>
            </a:r>
          </a:p>
          <a:p>
            <a:pPr defTabSz="1104900">
              <a:spcAft>
                <a:spcPts val="500"/>
              </a:spcAft>
            </a:pPr>
            <a:r>
              <a:rPr lang="en-US" sz="900" dirty="0">
                <a:solidFill>
                  <a:srgbClr val="0AAE9D"/>
                </a:solidFill>
                <a:cs typeface="Arial" pitchFamily="34" charset="0"/>
              </a:rPr>
              <a:t>Peru</a:t>
            </a:r>
          </a:p>
          <a:p>
            <a:pPr defTabSz="1104900">
              <a:spcAft>
                <a:spcPts val="500"/>
              </a:spcAft>
            </a:pPr>
            <a:r>
              <a:rPr lang="en-US" sz="900" dirty="0">
                <a:solidFill>
                  <a:srgbClr val="0AAE9D"/>
                </a:solidFill>
                <a:cs typeface="Arial" pitchFamily="34" charset="0"/>
              </a:rPr>
              <a:t>Bolivia </a:t>
            </a:r>
          </a:p>
          <a:p>
            <a:pPr defTabSz="1104900">
              <a:spcAft>
                <a:spcPts val="500"/>
              </a:spcAft>
            </a:pPr>
            <a:r>
              <a:rPr lang="en-US" sz="900" dirty="0">
                <a:solidFill>
                  <a:srgbClr val="0AAE9D"/>
                </a:solidFill>
                <a:cs typeface="Arial" pitchFamily="34" charset="0"/>
              </a:rPr>
              <a:t>Brazil</a:t>
            </a:r>
          </a:p>
          <a:p>
            <a:pPr defTabSz="1104900">
              <a:spcAft>
                <a:spcPts val="500"/>
              </a:spcAft>
            </a:pPr>
            <a:r>
              <a:rPr lang="en-US" sz="900" dirty="0">
                <a:solidFill>
                  <a:srgbClr val="0AAE9D"/>
                </a:solidFill>
                <a:cs typeface="Arial" pitchFamily="34" charset="0"/>
              </a:rPr>
              <a:t>Argentina</a:t>
            </a:r>
          </a:p>
          <a:p>
            <a:pPr marL="233363" indent="-233363" algn="l" defTabSz="1104900">
              <a:spcBef>
                <a:spcPts val="0"/>
              </a:spcBef>
              <a:spcAft>
                <a:spcPts val="1000"/>
              </a:spcAft>
              <a:buFont typeface="+mj-lt"/>
              <a:buAutoNum type="arabicPeriod" startAt="8"/>
            </a:pPr>
            <a:endParaRPr lang="en-US" sz="750" dirty="0">
              <a:solidFill>
                <a:srgbClr val="0AAE9D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ext Box 6">
            <a:extLst>
              <a:ext uri="{FF2B5EF4-FFF2-40B4-BE49-F238E27FC236}">
                <a16:creationId xmlns:a16="http://schemas.microsoft.com/office/drawing/2014/main" id="{544B494B-0362-84E2-52A1-C2FAD9EEC06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96000" y="4233972"/>
            <a:ext cx="856004" cy="1244572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92075" tIns="46038" rIns="92075" bIns="46038">
            <a:spAutoFit/>
          </a:bodyPr>
          <a:lstStyle/>
          <a:p>
            <a:pPr defTabSz="1104900">
              <a:spcBef>
                <a:spcPts val="0"/>
              </a:spcBef>
              <a:spcAft>
                <a:spcPts val="500"/>
              </a:spcAft>
            </a:pPr>
            <a:r>
              <a:rPr lang="en-US" sz="900" dirty="0">
                <a:solidFill>
                  <a:srgbClr val="0AAE9D"/>
                </a:solidFill>
                <a:cs typeface="Arial" pitchFamily="34" charset="0"/>
              </a:rPr>
              <a:t>UAE – Dubai</a:t>
            </a:r>
          </a:p>
          <a:p>
            <a:pPr defTabSz="1104900">
              <a:spcBef>
                <a:spcPts val="0"/>
              </a:spcBef>
              <a:spcAft>
                <a:spcPts val="500"/>
              </a:spcAft>
            </a:pPr>
            <a:r>
              <a:rPr lang="en-US" sz="900" dirty="0">
                <a:solidFill>
                  <a:srgbClr val="0AAE9D"/>
                </a:solidFill>
                <a:cs typeface="Arial" pitchFamily="34" charset="0"/>
              </a:rPr>
              <a:t>Oman</a:t>
            </a:r>
          </a:p>
          <a:p>
            <a:pPr defTabSz="1104900">
              <a:spcBef>
                <a:spcPts val="0"/>
              </a:spcBef>
              <a:spcAft>
                <a:spcPts val="500"/>
              </a:spcAft>
            </a:pPr>
            <a:r>
              <a:rPr lang="en-US" sz="900" dirty="0">
                <a:solidFill>
                  <a:srgbClr val="0AAE9D"/>
                </a:solidFill>
                <a:cs typeface="Arial" pitchFamily="34" charset="0"/>
              </a:rPr>
              <a:t>Yemen</a:t>
            </a:r>
          </a:p>
          <a:p>
            <a:pPr defTabSz="1104900">
              <a:spcBef>
                <a:spcPts val="0"/>
              </a:spcBef>
              <a:spcAft>
                <a:spcPts val="500"/>
              </a:spcAft>
            </a:pPr>
            <a:r>
              <a:rPr lang="en-US" sz="900" dirty="0">
                <a:solidFill>
                  <a:srgbClr val="0AAE9D"/>
                </a:solidFill>
                <a:cs typeface="Arial" pitchFamily="34" charset="0"/>
              </a:rPr>
              <a:t>Nigeria</a:t>
            </a:r>
          </a:p>
          <a:p>
            <a:pPr defTabSz="1104900">
              <a:spcBef>
                <a:spcPts val="0"/>
              </a:spcBef>
              <a:spcAft>
                <a:spcPts val="500"/>
              </a:spcAft>
            </a:pPr>
            <a:r>
              <a:rPr lang="en-US" sz="900" dirty="0">
                <a:solidFill>
                  <a:srgbClr val="0AAE9D"/>
                </a:solidFill>
                <a:cs typeface="Arial" pitchFamily="34" charset="0"/>
              </a:rPr>
              <a:t>Kenya</a:t>
            </a:r>
          </a:p>
          <a:p>
            <a:pPr defTabSz="1104900">
              <a:spcBef>
                <a:spcPts val="0"/>
              </a:spcBef>
              <a:spcAft>
                <a:spcPts val="500"/>
              </a:spcAft>
            </a:pPr>
            <a:r>
              <a:rPr lang="en-US" sz="900" dirty="0">
                <a:solidFill>
                  <a:srgbClr val="0AAE9D"/>
                </a:solidFill>
                <a:cs typeface="Arial" pitchFamily="34" charset="0"/>
              </a:rPr>
              <a:t>Rwanda</a:t>
            </a:r>
          </a:p>
        </p:txBody>
      </p:sp>
      <p:sp>
        <p:nvSpPr>
          <p:cNvPr id="9" name="Text Box 6">
            <a:extLst>
              <a:ext uri="{FF2B5EF4-FFF2-40B4-BE49-F238E27FC236}">
                <a16:creationId xmlns:a16="http://schemas.microsoft.com/office/drawing/2014/main" id="{D998F9A8-CB32-3C40-6241-449C71DA924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81313" y="3610046"/>
            <a:ext cx="774251" cy="434094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92075" tIns="46038" rIns="92075" bIns="46038">
            <a:spAutoFit/>
          </a:bodyPr>
          <a:lstStyle/>
          <a:p>
            <a:pPr defTabSz="1104900">
              <a:spcAft>
                <a:spcPts val="500"/>
              </a:spcAft>
            </a:pPr>
            <a:r>
              <a:rPr lang="en-US" sz="900" dirty="0">
                <a:solidFill>
                  <a:srgbClr val="0AAE9D"/>
                </a:solidFill>
                <a:cs typeface="Arial" pitchFamily="34" charset="0"/>
              </a:rPr>
              <a:t>Japan</a:t>
            </a:r>
          </a:p>
          <a:p>
            <a:pPr defTabSz="1104900">
              <a:spcAft>
                <a:spcPts val="500"/>
              </a:spcAft>
            </a:pPr>
            <a:r>
              <a:rPr lang="en-US" sz="900" dirty="0">
                <a:solidFill>
                  <a:srgbClr val="0AAE9D"/>
                </a:solidFill>
                <a:cs typeface="Arial" pitchFamily="34" charset="0"/>
              </a:rPr>
              <a:t>Philippines</a:t>
            </a:r>
          </a:p>
        </p:txBody>
      </p:sp>
    </p:spTree>
    <p:extLst>
      <p:ext uri="{BB962C8B-B14F-4D97-AF65-F5344CB8AC3E}">
        <p14:creationId xmlns:p14="http://schemas.microsoft.com/office/powerpoint/2010/main" val="32829870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F03D0D47-F950-A17F-8866-BC438998C34E}"/>
              </a:ext>
            </a:extLst>
          </p:cNvPr>
          <p:cNvSpPr txBox="1"/>
          <p:nvPr/>
        </p:nvSpPr>
        <p:spPr>
          <a:xfrm>
            <a:off x="177151" y="313438"/>
            <a:ext cx="404867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4000" b="1" dirty="0" err="1">
                <a:solidFill>
                  <a:schemeClr val="accent4"/>
                </a:solidFill>
                <a:latin typeface="+mj-lt"/>
              </a:rPr>
              <a:t>Presença</a:t>
            </a:r>
            <a:r>
              <a:rPr lang="es-CO" sz="4000" b="1" dirty="0">
                <a:solidFill>
                  <a:schemeClr val="accent4"/>
                </a:solidFill>
                <a:latin typeface="+mj-lt"/>
              </a:rPr>
              <a:t> no Brasil</a:t>
            </a:r>
          </a:p>
        </p:txBody>
      </p:sp>
      <p:pic>
        <p:nvPicPr>
          <p:cNvPr id="5" name="Imagen 6" descr="Logotipo&#10;&#10;Descripción generada automáticamente">
            <a:extLst>
              <a:ext uri="{FF2B5EF4-FFF2-40B4-BE49-F238E27FC236}">
                <a16:creationId xmlns:a16="http://schemas.microsoft.com/office/drawing/2014/main" id="{563BFF3A-C04D-599E-D0D0-46E8B68CF8A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63234" y="555958"/>
            <a:ext cx="2438401" cy="222846"/>
          </a:xfrm>
          <a:prstGeom prst="rect">
            <a:avLst/>
          </a:prstGeom>
        </p:spPr>
      </p:pic>
      <p:pic>
        <p:nvPicPr>
          <p:cNvPr id="73" name="Imagen 6">
            <a:extLst>
              <a:ext uri="{FF2B5EF4-FFF2-40B4-BE49-F238E27FC236}">
                <a16:creationId xmlns:a16="http://schemas.microsoft.com/office/drawing/2014/main" id="{DAE207F3-A7D4-23E0-58E4-5A945E37578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46783" y="1706729"/>
            <a:ext cx="4378218" cy="4490346"/>
          </a:xfrm>
          <a:prstGeom prst="rect">
            <a:avLst/>
          </a:prstGeom>
        </p:spPr>
      </p:pic>
      <p:pic>
        <p:nvPicPr>
          <p:cNvPr id="76" name="Imagen 9">
            <a:extLst>
              <a:ext uri="{FF2B5EF4-FFF2-40B4-BE49-F238E27FC236}">
                <a16:creationId xmlns:a16="http://schemas.microsoft.com/office/drawing/2014/main" id="{C1373D70-2CC4-6B58-85AD-8CABF50F688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34788" y="1786061"/>
            <a:ext cx="172082" cy="261476"/>
          </a:xfrm>
          <a:prstGeom prst="rect">
            <a:avLst/>
          </a:prstGeom>
        </p:spPr>
      </p:pic>
      <p:pic>
        <p:nvPicPr>
          <p:cNvPr id="78" name="Imagen 16">
            <a:extLst>
              <a:ext uri="{FF2B5EF4-FFF2-40B4-BE49-F238E27FC236}">
                <a16:creationId xmlns:a16="http://schemas.microsoft.com/office/drawing/2014/main" id="{88A42387-C246-809B-FEA7-A4595762425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35892" y="5362045"/>
            <a:ext cx="172082" cy="261476"/>
          </a:xfrm>
          <a:prstGeom prst="rect">
            <a:avLst/>
          </a:prstGeom>
        </p:spPr>
      </p:pic>
      <p:cxnSp>
        <p:nvCxnSpPr>
          <p:cNvPr id="84" name="Conector: angular 22">
            <a:extLst>
              <a:ext uri="{FF2B5EF4-FFF2-40B4-BE49-F238E27FC236}">
                <a16:creationId xmlns:a16="http://schemas.microsoft.com/office/drawing/2014/main" id="{89D4ACE5-A08D-C1DE-030B-BE7B1DBA325D}"/>
              </a:ext>
            </a:extLst>
          </p:cNvPr>
          <p:cNvCxnSpPr>
            <a:cxnSpLocks/>
            <a:stCxn id="76" idx="1"/>
          </p:cNvCxnSpPr>
          <p:nvPr/>
        </p:nvCxnSpPr>
        <p:spPr>
          <a:xfrm rot="10800000">
            <a:off x="4967418" y="1916799"/>
            <a:ext cx="667371" cy="12700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04AF9E"/>
            </a:solidFill>
            <a:prstDash val="solid"/>
            <a:miter lim="800000"/>
          </a:ln>
          <a:effectLst/>
        </p:spPr>
      </p:cxnSp>
      <p:sp>
        <p:nvSpPr>
          <p:cNvPr id="86" name="Rectángulo 24">
            <a:extLst>
              <a:ext uri="{FF2B5EF4-FFF2-40B4-BE49-F238E27FC236}">
                <a16:creationId xmlns:a16="http://schemas.microsoft.com/office/drawing/2014/main" id="{A797B331-E60F-4B29-C18C-FD7F332106DC}"/>
              </a:ext>
            </a:extLst>
          </p:cNvPr>
          <p:cNvSpPr/>
          <p:nvPr/>
        </p:nvSpPr>
        <p:spPr>
          <a:xfrm>
            <a:off x="4619989" y="1460966"/>
            <a:ext cx="741594" cy="462182"/>
          </a:xfrm>
          <a:prstGeom prst="rect">
            <a:avLst/>
          </a:prstGeom>
          <a:solidFill>
            <a:srgbClr val="04AF9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Inter" panose="02000503000000020004" pitchFamily="2" charset="0"/>
                <a:cs typeface="+mn-cs"/>
              </a:rPr>
              <a:t>Roraima</a:t>
            </a:r>
          </a:p>
        </p:txBody>
      </p:sp>
      <p:pic>
        <p:nvPicPr>
          <p:cNvPr id="121" name="Imagen 112">
            <a:extLst>
              <a:ext uri="{FF2B5EF4-FFF2-40B4-BE49-F238E27FC236}">
                <a16:creationId xmlns:a16="http://schemas.microsoft.com/office/drawing/2014/main" id="{FBD07EB8-D6E7-43D7-AB54-D744E6DA5E3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77506" y="2308761"/>
            <a:ext cx="172082" cy="261476"/>
          </a:xfrm>
          <a:prstGeom prst="rect">
            <a:avLst/>
          </a:prstGeom>
        </p:spPr>
      </p:pic>
      <p:cxnSp>
        <p:nvCxnSpPr>
          <p:cNvPr id="122" name="Conector: angular 114">
            <a:extLst>
              <a:ext uri="{FF2B5EF4-FFF2-40B4-BE49-F238E27FC236}">
                <a16:creationId xmlns:a16="http://schemas.microsoft.com/office/drawing/2014/main" id="{D21CABB3-F44B-99F2-0BD3-60DAEE0FA04B}"/>
              </a:ext>
            </a:extLst>
          </p:cNvPr>
          <p:cNvCxnSpPr>
            <a:cxnSpLocks/>
            <a:stCxn id="121" idx="0"/>
          </p:cNvCxnSpPr>
          <p:nvPr/>
        </p:nvCxnSpPr>
        <p:spPr>
          <a:xfrm rot="5400000" flipH="1" flipV="1">
            <a:off x="6340731" y="2085943"/>
            <a:ext cx="445634" cy="2"/>
          </a:xfrm>
          <a:prstGeom prst="bentConnector3">
            <a:avLst/>
          </a:prstGeom>
          <a:noFill/>
          <a:ln w="6350" cap="flat" cmpd="sng" algn="ctr">
            <a:solidFill>
              <a:srgbClr val="04AF9E"/>
            </a:solidFill>
            <a:prstDash val="solid"/>
            <a:miter lim="800000"/>
          </a:ln>
          <a:effectLst/>
        </p:spPr>
      </p:cxnSp>
      <p:sp>
        <p:nvSpPr>
          <p:cNvPr id="124" name="Rectángulo 116">
            <a:extLst>
              <a:ext uri="{FF2B5EF4-FFF2-40B4-BE49-F238E27FC236}">
                <a16:creationId xmlns:a16="http://schemas.microsoft.com/office/drawing/2014/main" id="{D41DD279-900C-0951-41D9-BB2A8ED01B4D}"/>
              </a:ext>
            </a:extLst>
          </p:cNvPr>
          <p:cNvSpPr/>
          <p:nvPr/>
        </p:nvSpPr>
        <p:spPr>
          <a:xfrm>
            <a:off x="6176903" y="1433710"/>
            <a:ext cx="912963" cy="430827"/>
          </a:xfrm>
          <a:prstGeom prst="rect">
            <a:avLst/>
          </a:prstGeom>
          <a:solidFill>
            <a:srgbClr val="04AF9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Inter" panose="02000503000000020004" pitchFamily="2" charset="0"/>
                <a:cs typeface="+mn-cs"/>
              </a:rPr>
              <a:t>Pará</a:t>
            </a:r>
          </a:p>
        </p:txBody>
      </p:sp>
      <p:sp>
        <p:nvSpPr>
          <p:cNvPr id="127" name="Rectángulo 121">
            <a:extLst>
              <a:ext uri="{FF2B5EF4-FFF2-40B4-BE49-F238E27FC236}">
                <a16:creationId xmlns:a16="http://schemas.microsoft.com/office/drawing/2014/main" id="{B143C7C3-410C-C05E-EB8B-626D20C8B16D}"/>
              </a:ext>
            </a:extLst>
          </p:cNvPr>
          <p:cNvSpPr/>
          <p:nvPr/>
        </p:nvSpPr>
        <p:spPr>
          <a:xfrm>
            <a:off x="5279099" y="5220679"/>
            <a:ext cx="799652" cy="526091"/>
          </a:xfrm>
          <a:prstGeom prst="rect">
            <a:avLst/>
          </a:prstGeom>
          <a:solidFill>
            <a:srgbClr val="04AF9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9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Inter" panose="02000503000000020004" pitchFamily="2" charset="0"/>
                <a:cs typeface="+mn-cs"/>
              </a:rPr>
              <a:t>Parana</a:t>
            </a:r>
            <a:endParaRPr kumimoji="0" lang="es-CO" sz="9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Inter" panose="02000503000000020004" pitchFamily="2" charset="0"/>
              <a:cs typeface="+mn-cs"/>
            </a:endParaRPr>
          </a:p>
        </p:txBody>
      </p:sp>
      <p:cxnSp>
        <p:nvCxnSpPr>
          <p:cNvPr id="129" name="Conector: angular 124">
            <a:extLst>
              <a:ext uri="{FF2B5EF4-FFF2-40B4-BE49-F238E27FC236}">
                <a16:creationId xmlns:a16="http://schemas.microsoft.com/office/drawing/2014/main" id="{72CF8214-6C91-C3CF-C46A-4594F12089CB}"/>
              </a:ext>
            </a:extLst>
          </p:cNvPr>
          <p:cNvCxnSpPr>
            <a:cxnSpLocks/>
            <a:stCxn id="78" idx="1"/>
          </p:cNvCxnSpPr>
          <p:nvPr/>
        </p:nvCxnSpPr>
        <p:spPr>
          <a:xfrm rot="10800000">
            <a:off x="6096000" y="5492783"/>
            <a:ext cx="439892" cy="1"/>
          </a:xfrm>
          <a:prstGeom prst="bentConnector3">
            <a:avLst/>
          </a:prstGeom>
          <a:noFill/>
          <a:ln w="6350" cap="flat" cmpd="sng" algn="ctr">
            <a:solidFill>
              <a:srgbClr val="04AF9E"/>
            </a:solidFill>
            <a:prstDash val="solid"/>
            <a:miter lim="800000"/>
          </a:ln>
          <a:effectLst/>
        </p:spPr>
      </p:cxnSp>
      <p:grpSp>
        <p:nvGrpSpPr>
          <p:cNvPr id="134" name="Grupo 125">
            <a:extLst>
              <a:ext uri="{FF2B5EF4-FFF2-40B4-BE49-F238E27FC236}">
                <a16:creationId xmlns:a16="http://schemas.microsoft.com/office/drawing/2014/main" id="{7B5CD86C-A5EB-6B7C-FFA0-7A4179C59223}"/>
              </a:ext>
            </a:extLst>
          </p:cNvPr>
          <p:cNvGrpSpPr/>
          <p:nvPr/>
        </p:nvGrpSpPr>
        <p:grpSpPr>
          <a:xfrm>
            <a:off x="7974206" y="4682267"/>
            <a:ext cx="979366" cy="564436"/>
            <a:chOff x="3938652" y="596690"/>
            <a:chExt cx="921917" cy="645429"/>
          </a:xfrm>
        </p:grpSpPr>
        <p:sp>
          <p:nvSpPr>
            <p:cNvPr id="135" name="Rectángulo 126">
              <a:extLst>
                <a:ext uri="{FF2B5EF4-FFF2-40B4-BE49-F238E27FC236}">
                  <a16:creationId xmlns:a16="http://schemas.microsoft.com/office/drawing/2014/main" id="{D36B4767-BBAF-2BC8-0F3B-A017121B6E6E}"/>
                </a:ext>
              </a:extLst>
            </p:cNvPr>
            <p:cNvSpPr/>
            <p:nvPr/>
          </p:nvSpPr>
          <p:spPr>
            <a:xfrm>
              <a:off x="3946169" y="596690"/>
              <a:ext cx="914400" cy="242819"/>
            </a:xfrm>
            <a:prstGeom prst="rect">
              <a:avLst/>
            </a:prstGeom>
            <a:solidFill>
              <a:srgbClr val="04AF9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Inter" panose="02000503000000020004" pitchFamily="2" charset="0"/>
                  <a:cs typeface="+mn-cs"/>
                </a:rPr>
                <a:t>Rio de Janeiro</a:t>
              </a:r>
            </a:p>
          </p:txBody>
        </p:sp>
        <p:sp>
          <p:nvSpPr>
            <p:cNvPr id="136" name="Rectángulo 127">
              <a:extLst>
                <a:ext uri="{FF2B5EF4-FFF2-40B4-BE49-F238E27FC236}">
                  <a16:creationId xmlns:a16="http://schemas.microsoft.com/office/drawing/2014/main" id="{14A867C9-FF21-7C49-CC61-5AB56681F3F8}"/>
                </a:ext>
              </a:extLst>
            </p:cNvPr>
            <p:cNvSpPr/>
            <p:nvPr/>
          </p:nvSpPr>
          <p:spPr>
            <a:xfrm>
              <a:off x="3938652" y="850233"/>
              <a:ext cx="914400" cy="391886"/>
            </a:xfrm>
            <a:prstGeom prst="rect">
              <a:avLst/>
            </a:prstGeom>
            <a:solidFill>
              <a:srgbClr val="FFFFFF"/>
            </a:solidFill>
            <a:ln w="19050" cap="flat" cmpd="sng" algn="ctr">
              <a:solidFill>
                <a:srgbClr val="04AF9E"/>
              </a:solidFill>
              <a:prstDash val="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383838"/>
                  </a:solidFill>
                  <a:effectLst/>
                  <a:uLnTx/>
                  <a:uFillTx/>
                  <a:latin typeface="Calibri" panose="020F0502020204030204"/>
                  <a:ea typeface="Inter" panose="02000503000000020004" pitchFamily="2" charset="0"/>
                  <a:cs typeface="+mn-cs"/>
                </a:rPr>
                <a:t>       Sede</a:t>
              </a:r>
              <a:endParaRPr kumimoji="0" lang="es-CO" sz="1200" b="1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  <a:ea typeface="Inter" panose="02000503000000020004" pitchFamily="2" charset="0"/>
                <a:cs typeface="+mn-cs"/>
              </a:endParaRPr>
            </a:p>
          </p:txBody>
        </p:sp>
      </p:grpSp>
      <p:grpSp>
        <p:nvGrpSpPr>
          <p:cNvPr id="137" name="Grupo 125">
            <a:extLst>
              <a:ext uri="{FF2B5EF4-FFF2-40B4-BE49-F238E27FC236}">
                <a16:creationId xmlns:a16="http://schemas.microsoft.com/office/drawing/2014/main" id="{253B8F07-A145-41B9-D584-E22B053DF1CD}"/>
              </a:ext>
            </a:extLst>
          </p:cNvPr>
          <p:cNvGrpSpPr/>
          <p:nvPr/>
        </p:nvGrpSpPr>
        <p:grpSpPr>
          <a:xfrm>
            <a:off x="7175308" y="5413616"/>
            <a:ext cx="971381" cy="555057"/>
            <a:chOff x="3938652" y="607415"/>
            <a:chExt cx="914400" cy="634704"/>
          </a:xfrm>
        </p:grpSpPr>
        <p:sp>
          <p:nvSpPr>
            <p:cNvPr id="138" name="Rectángulo 126">
              <a:extLst>
                <a:ext uri="{FF2B5EF4-FFF2-40B4-BE49-F238E27FC236}">
                  <a16:creationId xmlns:a16="http://schemas.microsoft.com/office/drawing/2014/main" id="{A13E6715-C47A-13A3-DB12-03F063ADFEC6}"/>
                </a:ext>
              </a:extLst>
            </p:cNvPr>
            <p:cNvSpPr/>
            <p:nvPr/>
          </p:nvSpPr>
          <p:spPr>
            <a:xfrm>
              <a:off x="3938653" y="607415"/>
              <a:ext cx="914398" cy="242819"/>
            </a:xfrm>
            <a:prstGeom prst="rect">
              <a:avLst/>
            </a:prstGeom>
            <a:solidFill>
              <a:srgbClr val="04AF9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Inter" panose="02000503000000020004" pitchFamily="2" charset="0"/>
                  <a:cs typeface="+mn-cs"/>
                </a:rPr>
                <a:t>Sao Paulo</a:t>
              </a:r>
            </a:p>
          </p:txBody>
        </p:sp>
        <p:sp>
          <p:nvSpPr>
            <p:cNvPr id="139" name="Rectángulo 127">
              <a:extLst>
                <a:ext uri="{FF2B5EF4-FFF2-40B4-BE49-F238E27FC236}">
                  <a16:creationId xmlns:a16="http://schemas.microsoft.com/office/drawing/2014/main" id="{D2113464-B3C6-260F-832B-3DE977C343A7}"/>
                </a:ext>
              </a:extLst>
            </p:cNvPr>
            <p:cNvSpPr/>
            <p:nvPr/>
          </p:nvSpPr>
          <p:spPr>
            <a:xfrm>
              <a:off x="3938652" y="850233"/>
              <a:ext cx="914400" cy="391886"/>
            </a:xfrm>
            <a:prstGeom prst="rect">
              <a:avLst/>
            </a:prstGeom>
            <a:solidFill>
              <a:srgbClr val="FFFFFF"/>
            </a:solidFill>
            <a:ln w="19050" cap="flat" cmpd="sng" algn="ctr">
              <a:solidFill>
                <a:srgbClr val="04AF9E"/>
              </a:solidFill>
              <a:prstDash val="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383838"/>
                  </a:solidFill>
                  <a:effectLst/>
                  <a:uLnTx/>
                  <a:uFillTx/>
                  <a:latin typeface="Calibri" panose="020F0502020204030204"/>
                  <a:ea typeface="Inter" panose="02000503000000020004" pitchFamily="2" charset="0"/>
                  <a:cs typeface="+mn-cs"/>
                </a:rPr>
                <a:t>TC- Controle de Temperatura</a:t>
              </a:r>
              <a:endParaRPr kumimoji="0" lang="es-CO" sz="900" b="1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  <a:ea typeface="Inter" panose="02000503000000020004" pitchFamily="2" charset="0"/>
                <a:cs typeface="+mn-cs"/>
              </a:endParaRPr>
            </a:p>
          </p:txBody>
        </p:sp>
      </p:grpSp>
      <p:grpSp>
        <p:nvGrpSpPr>
          <p:cNvPr id="140" name="Grupo 125">
            <a:extLst>
              <a:ext uri="{FF2B5EF4-FFF2-40B4-BE49-F238E27FC236}">
                <a16:creationId xmlns:a16="http://schemas.microsoft.com/office/drawing/2014/main" id="{411CE772-33E9-BADE-F880-1154E06DC96B}"/>
              </a:ext>
            </a:extLst>
          </p:cNvPr>
          <p:cNvGrpSpPr/>
          <p:nvPr/>
        </p:nvGrpSpPr>
        <p:grpSpPr>
          <a:xfrm>
            <a:off x="8339213" y="4014353"/>
            <a:ext cx="971382" cy="555057"/>
            <a:chOff x="3938652" y="607415"/>
            <a:chExt cx="914401" cy="634704"/>
          </a:xfrm>
        </p:grpSpPr>
        <p:sp>
          <p:nvSpPr>
            <p:cNvPr id="141" name="Rectángulo 126">
              <a:extLst>
                <a:ext uri="{FF2B5EF4-FFF2-40B4-BE49-F238E27FC236}">
                  <a16:creationId xmlns:a16="http://schemas.microsoft.com/office/drawing/2014/main" id="{329B6C30-4853-E04F-549D-6C5F718FB895}"/>
                </a:ext>
              </a:extLst>
            </p:cNvPr>
            <p:cNvSpPr/>
            <p:nvPr/>
          </p:nvSpPr>
          <p:spPr>
            <a:xfrm>
              <a:off x="3938653" y="607415"/>
              <a:ext cx="914400" cy="242818"/>
            </a:xfrm>
            <a:prstGeom prst="rect">
              <a:avLst/>
            </a:prstGeom>
            <a:solidFill>
              <a:srgbClr val="04AF9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9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Inter" panose="02000503000000020004" pitchFamily="2" charset="0"/>
                  <a:cs typeface="+mn-cs"/>
                </a:rPr>
                <a:t>Macae</a:t>
              </a:r>
              <a:endParaRPr kumimoji="0" lang="es-CO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Inter" panose="02000503000000020004" pitchFamily="2" charset="0"/>
                <a:cs typeface="+mn-cs"/>
              </a:endParaRPr>
            </a:p>
          </p:txBody>
        </p:sp>
        <p:sp>
          <p:nvSpPr>
            <p:cNvPr id="142" name="Rectángulo 127">
              <a:extLst>
                <a:ext uri="{FF2B5EF4-FFF2-40B4-BE49-F238E27FC236}">
                  <a16:creationId xmlns:a16="http://schemas.microsoft.com/office/drawing/2014/main" id="{8D8D78B6-7BAF-17E9-2233-8C66D1761F32}"/>
                </a:ext>
              </a:extLst>
            </p:cNvPr>
            <p:cNvSpPr/>
            <p:nvPr/>
          </p:nvSpPr>
          <p:spPr>
            <a:xfrm>
              <a:off x="3938652" y="850233"/>
              <a:ext cx="914400" cy="391886"/>
            </a:xfrm>
            <a:prstGeom prst="rect">
              <a:avLst/>
            </a:prstGeom>
            <a:solidFill>
              <a:srgbClr val="FFFFFF"/>
            </a:solidFill>
            <a:ln w="19050" cap="flat" cmpd="sng" algn="ctr">
              <a:solidFill>
                <a:srgbClr val="04AF9E"/>
              </a:solidFill>
              <a:prstDash val="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pt-BR" sz="1200" b="1" kern="0" dirty="0">
                  <a:solidFill>
                    <a:srgbClr val="383838"/>
                  </a:solidFill>
                  <a:latin typeface="Calibri" panose="020F0502020204030204"/>
                </a:rPr>
                <a:t>      Vicel</a:t>
              </a:r>
              <a:endParaRPr lang="es-CO" sz="1200" b="1" kern="0" dirty="0">
                <a:solidFill>
                  <a:srgbClr val="383838"/>
                </a:solidFill>
                <a:latin typeface="Calibri" panose="020F0502020204030204"/>
              </a:endParaRPr>
            </a:p>
          </p:txBody>
        </p:sp>
      </p:grpSp>
      <p:pic>
        <p:nvPicPr>
          <p:cNvPr id="146" name="Imagen 19">
            <a:extLst>
              <a:ext uri="{FF2B5EF4-FFF2-40B4-BE49-F238E27FC236}">
                <a16:creationId xmlns:a16="http://schemas.microsoft.com/office/drawing/2014/main" id="{1A9FD4D3-CCDA-4289-5573-2ACB7B63EEA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93033" y="5046716"/>
            <a:ext cx="172082" cy="261476"/>
          </a:xfrm>
          <a:prstGeom prst="rect">
            <a:avLst/>
          </a:prstGeom>
        </p:spPr>
      </p:pic>
      <p:pic>
        <p:nvPicPr>
          <p:cNvPr id="147" name="Imagen 19">
            <a:extLst>
              <a:ext uri="{FF2B5EF4-FFF2-40B4-BE49-F238E27FC236}">
                <a16:creationId xmlns:a16="http://schemas.microsoft.com/office/drawing/2014/main" id="{FADA18FD-4BB3-8AB5-3AB0-AA3049FD5C7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49727" y="4472928"/>
            <a:ext cx="172082" cy="261476"/>
          </a:xfrm>
          <a:prstGeom prst="rect">
            <a:avLst/>
          </a:prstGeom>
        </p:spPr>
      </p:pic>
      <p:pic>
        <p:nvPicPr>
          <p:cNvPr id="148" name="Imagen 19">
            <a:extLst>
              <a:ext uri="{FF2B5EF4-FFF2-40B4-BE49-F238E27FC236}">
                <a16:creationId xmlns:a16="http://schemas.microsoft.com/office/drawing/2014/main" id="{C39E2A88-A4E4-959C-5650-9CCE2D128DF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01455" y="4930237"/>
            <a:ext cx="172082" cy="261476"/>
          </a:xfrm>
          <a:prstGeom prst="rect">
            <a:avLst/>
          </a:prstGeom>
        </p:spPr>
      </p:pic>
      <p:sp>
        <p:nvSpPr>
          <p:cNvPr id="149" name="ee4pContent1">
            <a:extLst>
              <a:ext uri="{FF2B5EF4-FFF2-40B4-BE49-F238E27FC236}">
                <a16:creationId xmlns:a16="http://schemas.microsoft.com/office/drawing/2014/main" id="{3D2A6F8F-5BD2-CACF-C7CE-C2599B02BF4D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514307" y="1649124"/>
            <a:ext cx="3120269" cy="4496353"/>
          </a:xfrm>
          <a:prstGeom prst="rect">
            <a:avLst/>
          </a:prstGeom>
          <a:solidFill>
            <a:srgbClr val="FFFFFF">
              <a:lumMod val="100000"/>
            </a:srgbClr>
          </a:solidFill>
          <a:ln w="9525" cmpd="sng">
            <a:solidFill>
              <a:srgbClr val="2266A2"/>
            </a:solidFill>
            <a:prstDash val="solid"/>
          </a:ln>
        </p:spPr>
        <p:txBody>
          <a:bodyPr vert="horz" lIns="90000" tIns="90000" rIns="90000" bIns="9000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lvl="1" indent="0">
              <a:buNone/>
            </a:pPr>
            <a:r>
              <a:rPr lang="pt-BR" b="1" dirty="0">
                <a:latin typeface="Inter" panose="02000503000000020004" pitchFamily="2" charset="0"/>
                <a:ea typeface="Inter" panose="02000503000000020004" pitchFamily="2" charset="0"/>
                <a:cs typeface="+mn-cs"/>
              </a:rPr>
              <a:t>BRASIL</a:t>
            </a:r>
          </a:p>
          <a:p>
            <a:pPr marL="0" lvl="1" indent="0">
              <a:buNone/>
            </a:pPr>
            <a:r>
              <a:rPr lang="pt-BR" sz="1400" b="1" dirty="0">
                <a:latin typeface="Inter" panose="02000503000000020004" pitchFamily="2" charset="0"/>
                <a:ea typeface="Inter" panose="02000503000000020004" pitchFamily="2" charset="0"/>
                <a:cs typeface="+mn-cs"/>
              </a:rPr>
              <a:t>ENERGIA:</a:t>
            </a:r>
          </a:p>
          <a:p>
            <a:pPr marL="0" lvl="1" indent="0">
              <a:buNone/>
            </a:pPr>
            <a:r>
              <a:rPr lang="pt-BR" sz="1200" dirty="0">
                <a:latin typeface="Inter" panose="02000503000000020004"/>
                <a:cs typeface="Segoe UI Light" panose="020B0502040204020203" pitchFamily="34" charset="0"/>
              </a:rPr>
              <a:t>Rua da Assembleia, 10 - Ed Candido Mendes - Room 3510 - Centro - Rio de Janeiro - RJ </a:t>
            </a:r>
          </a:p>
          <a:p>
            <a:pPr marL="0" lvl="1" indent="0">
              <a:buNone/>
            </a:pPr>
            <a:r>
              <a:rPr lang="pt-BR" sz="1200" dirty="0">
                <a:latin typeface="Inter" panose="02000503000000020004"/>
                <a:cs typeface="Segoe UI Light" panose="020B0502040204020203" pitchFamily="34" charset="0"/>
                <a:hlinkClick r:id="rId6"/>
              </a:rPr>
              <a:t>https://soenergy.com/</a:t>
            </a:r>
            <a:endParaRPr lang="pt-BR" sz="1200" dirty="0">
              <a:latin typeface="Inter" panose="02000503000000020004"/>
              <a:cs typeface="Segoe UI Light" panose="020B0502040204020203" pitchFamily="34" charset="0"/>
            </a:endParaRPr>
          </a:p>
          <a:p>
            <a:pPr marL="0" lvl="1" indent="0">
              <a:buNone/>
            </a:pPr>
            <a:endParaRPr lang="pt-BR" sz="12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0" lvl="1" indent="0">
              <a:buNone/>
            </a:pPr>
            <a:r>
              <a:rPr lang="pt-BR" sz="1400" b="1" dirty="0">
                <a:latin typeface="Inter" panose="02000503000000020004" pitchFamily="2" charset="0"/>
                <a:ea typeface="Inter" panose="02000503000000020004" pitchFamily="2" charset="0"/>
                <a:cs typeface="+mn-cs"/>
              </a:rPr>
              <a:t>CONTROLE DE TEMPERATURA:</a:t>
            </a:r>
          </a:p>
          <a:p>
            <a:pPr marL="0" lvl="1" indent="0">
              <a:buNone/>
            </a:pPr>
            <a:r>
              <a:rPr lang="pt-BR" sz="1200" dirty="0">
                <a:latin typeface="Inter" panose="02000503000000020004"/>
                <a:cs typeface="Segoe UI Light" panose="020B0502040204020203" pitchFamily="34" charset="0"/>
              </a:rPr>
              <a:t>Rua Três, 184 - Parque das Indústrias - Betel - Paulínia - SP </a:t>
            </a:r>
          </a:p>
          <a:p>
            <a:pPr marL="0" lvl="1" indent="0">
              <a:buNone/>
            </a:pPr>
            <a:r>
              <a:rPr lang="pt-BR" sz="1200" dirty="0">
                <a:latin typeface="Inter" panose="02000503000000020004"/>
                <a:cs typeface="Segoe UI Light" panose="020B0502040204020203" pitchFamily="34" charset="0"/>
                <a:hlinkClick r:id="rId7"/>
              </a:rPr>
              <a:t>https://soenergy.com/pt/solucao/controle-de-temperatura/</a:t>
            </a:r>
            <a:endParaRPr lang="pt-BR" sz="1200" dirty="0">
              <a:latin typeface="Inter" panose="02000503000000020004"/>
              <a:cs typeface="Segoe UI Light" panose="020B0502040204020203" pitchFamily="34" charset="0"/>
            </a:endParaRPr>
          </a:p>
          <a:p>
            <a:pPr marL="0" lvl="1" indent="0">
              <a:buNone/>
            </a:pPr>
            <a:endParaRPr lang="pt-BR" sz="12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0" lvl="1" indent="0">
              <a:buNone/>
            </a:pPr>
            <a:r>
              <a:rPr lang="pt-BR" sz="1400" b="1" dirty="0">
                <a:latin typeface="Inter" panose="02000503000000020004" pitchFamily="2" charset="0"/>
                <a:ea typeface="Inter" panose="02000503000000020004" pitchFamily="2" charset="0"/>
                <a:cs typeface="+mn-cs"/>
              </a:rPr>
              <a:t>TRATAMENTO DE AGUA:</a:t>
            </a:r>
          </a:p>
          <a:p>
            <a:pPr marL="0" lvl="1" indent="0">
              <a:buNone/>
            </a:pPr>
            <a:r>
              <a:rPr lang="pt-BR" sz="1200" dirty="0">
                <a:latin typeface="Inter" panose="02000503000000020004"/>
                <a:cs typeface="Segoe UI Light" panose="020B0502040204020203" pitchFamily="34" charset="0"/>
              </a:rPr>
              <a:t>Avenida ZEN - Quadra C - Lote 20 - Zona Especial de Negócios - Rio das Ostras - RJ</a:t>
            </a:r>
          </a:p>
          <a:p>
            <a:pPr marL="0" lvl="1" indent="0">
              <a:buNone/>
            </a:pPr>
            <a:r>
              <a:rPr lang="es-CL" sz="1200" dirty="0">
                <a:latin typeface="Inter" panose="02000503000000020004"/>
                <a:cs typeface="Segoe UI Light" panose="020B0502040204020203" pitchFamily="34" charset="0"/>
                <a:hlinkClick r:id="rId8"/>
              </a:rPr>
              <a:t>https://vicel.com.br/</a:t>
            </a:r>
            <a:endParaRPr lang="es-CL" sz="1200" dirty="0">
              <a:latin typeface="Inter" panose="02000503000000020004"/>
              <a:cs typeface="Segoe UI Light" panose="020B0502040204020203" pitchFamily="34" charset="0"/>
            </a:endParaRPr>
          </a:p>
          <a:p>
            <a:pPr marL="0" lvl="1" indent="0">
              <a:buNone/>
            </a:pPr>
            <a:endParaRPr lang="es-CL" sz="14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cxnSp>
        <p:nvCxnSpPr>
          <p:cNvPr id="11" name="Conector: angular 124">
            <a:extLst>
              <a:ext uri="{FF2B5EF4-FFF2-40B4-BE49-F238E27FC236}">
                <a16:creationId xmlns:a16="http://schemas.microsoft.com/office/drawing/2014/main" id="{9B23DA3A-2EA0-8915-BD99-71157E766BE4}"/>
              </a:ext>
            </a:extLst>
          </p:cNvPr>
          <p:cNvCxnSpPr>
            <a:cxnSpLocks/>
          </p:cNvCxnSpPr>
          <p:nvPr/>
        </p:nvCxnSpPr>
        <p:spPr>
          <a:xfrm rot="10800000" flipV="1">
            <a:off x="7629969" y="4893989"/>
            <a:ext cx="411600" cy="128904"/>
          </a:xfrm>
          <a:prstGeom prst="bentConnector3">
            <a:avLst>
              <a:gd name="adj1" fmla="val 23723"/>
            </a:avLst>
          </a:prstGeom>
          <a:noFill/>
          <a:ln w="6350" cap="flat" cmpd="sng" algn="ctr">
            <a:solidFill>
              <a:srgbClr val="04AF9E"/>
            </a:solidFill>
            <a:prstDash val="solid"/>
            <a:miter lim="800000"/>
          </a:ln>
          <a:effectLst/>
        </p:spPr>
      </p:cxnSp>
      <p:cxnSp>
        <p:nvCxnSpPr>
          <p:cNvPr id="13" name="Conector: angular 124">
            <a:extLst>
              <a:ext uri="{FF2B5EF4-FFF2-40B4-BE49-F238E27FC236}">
                <a16:creationId xmlns:a16="http://schemas.microsoft.com/office/drawing/2014/main" id="{BA6188A7-A1E6-1177-ED8F-53E9F278F97A}"/>
              </a:ext>
            </a:extLst>
          </p:cNvPr>
          <p:cNvCxnSpPr>
            <a:cxnSpLocks/>
          </p:cNvCxnSpPr>
          <p:nvPr/>
        </p:nvCxnSpPr>
        <p:spPr>
          <a:xfrm rot="16200000" flipH="1">
            <a:off x="6957505" y="5384951"/>
            <a:ext cx="374706" cy="102433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04AF9E"/>
            </a:solidFill>
            <a:prstDash val="solid"/>
            <a:miter lim="800000"/>
          </a:ln>
          <a:effectLst/>
        </p:spPr>
      </p:cxnSp>
      <p:cxnSp>
        <p:nvCxnSpPr>
          <p:cNvPr id="17" name="Conector: angular 124">
            <a:extLst>
              <a:ext uri="{FF2B5EF4-FFF2-40B4-BE49-F238E27FC236}">
                <a16:creationId xmlns:a16="http://schemas.microsoft.com/office/drawing/2014/main" id="{FEA5DF3C-08F7-7B0C-9F14-A1177AC1B1DB}"/>
              </a:ext>
            </a:extLst>
          </p:cNvPr>
          <p:cNvCxnSpPr>
            <a:cxnSpLocks/>
          </p:cNvCxnSpPr>
          <p:nvPr/>
        </p:nvCxnSpPr>
        <p:spPr>
          <a:xfrm rot="10800000" flipV="1">
            <a:off x="7921810" y="4275033"/>
            <a:ext cx="417405" cy="285169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04AF9E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22189507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9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2B5875-D694-EDDE-C962-25D4EC041D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ie de página 1">
            <a:extLst>
              <a:ext uri="{FF2B5EF4-FFF2-40B4-BE49-F238E27FC236}">
                <a16:creationId xmlns:a16="http://schemas.microsoft.com/office/drawing/2014/main" id="{562971D2-818C-52E9-251E-0BBAE61690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18243E">
                    <a:tint val="75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Confidential</a:t>
            </a:r>
            <a:endParaRPr kumimoji="0" lang="es-CO" sz="1200" b="0" i="0" u="none" strike="noStrike" kern="1200" cap="none" spc="0" normalizeH="0" baseline="0" noProof="0" dirty="0">
              <a:ln>
                <a:noFill/>
              </a:ln>
              <a:solidFill>
                <a:srgbClr val="18243E">
                  <a:tint val="75000"/>
                </a:srgbClr>
              </a:solidFill>
              <a:effectLst/>
              <a:uLnTx/>
              <a:uFillTx/>
              <a:latin typeface="Inter"/>
              <a:ea typeface="+mn-ea"/>
              <a:cs typeface="+mn-cs"/>
            </a:endParaRP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47E07731-7478-C009-58D2-18F9988E4E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279CBC-B292-40E9-B1BF-CB5F5D21536A}" type="slidenum">
              <a:rPr kumimoji="0" lang="es-CO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8243E">
                    <a:tint val="75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s-CO" sz="1200" b="0" i="0" u="none" strike="noStrike" kern="1200" cap="none" spc="0" normalizeH="0" baseline="0" noProof="0">
              <a:ln>
                <a:noFill/>
              </a:ln>
              <a:solidFill>
                <a:srgbClr val="18243E">
                  <a:tint val="75000"/>
                </a:srgbClr>
              </a:solidFill>
              <a:effectLst/>
              <a:uLnTx/>
              <a:uFillTx/>
              <a:latin typeface="Inter"/>
              <a:ea typeface="+mn-ea"/>
              <a:cs typeface="+mn-cs"/>
            </a:endParaRPr>
          </a:p>
        </p:txBody>
      </p:sp>
      <p:pic>
        <p:nvPicPr>
          <p:cNvPr id="17" name="Imagen 6" descr="Logotipo&#10;&#10;Descripción generada automáticamente">
            <a:extLst>
              <a:ext uri="{FF2B5EF4-FFF2-40B4-BE49-F238E27FC236}">
                <a16:creationId xmlns:a16="http://schemas.microsoft.com/office/drawing/2014/main" id="{C7D919C4-8A7E-F5BE-5112-2B1C0353BC0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63234" y="555958"/>
            <a:ext cx="2438401" cy="222846"/>
          </a:xfrm>
          <a:prstGeom prst="rect">
            <a:avLst/>
          </a:prstGeom>
        </p:spPr>
      </p:pic>
      <p:sp>
        <p:nvSpPr>
          <p:cNvPr id="5" name="CuadroTexto 12">
            <a:extLst>
              <a:ext uri="{FF2B5EF4-FFF2-40B4-BE49-F238E27FC236}">
                <a16:creationId xmlns:a16="http://schemas.microsoft.com/office/drawing/2014/main" id="{4E3C99E3-9BC7-4065-67B0-0F1B10586A79}"/>
              </a:ext>
            </a:extLst>
          </p:cNvPr>
          <p:cNvSpPr txBox="1"/>
          <p:nvPr/>
        </p:nvSpPr>
        <p:spPr>
          <a:xfrm>
            <a:off x="512965" y="661265"/>
            <a:ext cx="747161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rgbClr val="FAA81D"/>
                </a:solidFill>
                <a:latin typeface="+mj-lt"/>
              </a:rPr>
              <a:t>TC – Controle de </a:t>
            </a:r>
            <a:r>
              <a:rPr lang="en-US" sz="4000" b="1" dirty="0" err="1">
                <a:solidFill>
                  <a:srgbClr val="FAA81D"/>
                </a:solidFill>
                <a:latin typeface="+mj-lt"/>
              </a:rPr>
              <a:t>Temperatura</a:t>
            </a:r>
            <a:endParaRPr lang="en-US" sz="4000" b="1" dirty="0">
              <a:solidFill>
                <a:srgbClr val="FAA81D"/>
              </a:solidFill>
              <a:latin typeface="+mj-lt"/>
            </a:endParaRP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4D73E3F5-ED91-2475-D305-52DD3470672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88481" y="2510438"/>
            <a:ext cx="3415037" cy="2978412"/>
          </a:xfrm>
          <a:prstGeom prst="rect">
            <a:avLst/>
          </a:prstGeom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5A113E3C-BB12-B29D-818B-FC7F50F8B26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5429" y="2510439"/>
            <a:ext cx="3973341" cy="2978412"/>
          </a:xfrm>
          <a:prstGeom prst="rect">
            <a:avLst/>
          </a:prstGeom>
        </p:spPr>
      </p:pic>
      <p:pic>
        <p:nvPicPr>
          <p:cNvPr id="9" name="Imagem 8">
            <a:extLst>
              <a:ext uri="{FF2B5EF4-FFF2-40B4-BE49-F238E27FC236}">
                <a16:creationId xmlns:a16="http://schemas.microsoft.com/office/drawing/2014/main" id="{6277B292-FFE3-7DE3-1ACA-BD615790420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43229" y="2512671"/>
            <a:ext cx="3415038" cy="2976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28985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474C3C63-6225-394F-1866-DA604CD8C5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279CBC-B292-40E9-B1BF-CB5F5D21536A}" type="slidenum">
              <a:rPr kumimoji="0" lang="es-CO" sz="1200" b="0" i="0" u="none" strike="noStrike" kern="1200" cap="none" spc="0" normalizeH="0" baseline="0" noProof="0" smtClean="0">
                <a:ln>
                  <a:noFill/>
                </a:ln>
                <a:solidFill>
                  <a:srgbClr val="18243E">
                    <a:tint val="75000"/>
                  </a:srgbClr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s-CO" sz="1200" b="0" i="0" u="none" strike="noStrike" kern="1200" cap="none" spc="0" normalizeH="0" baseline="0" noProof="0">
              <a:ln>
                <a:noFill/>
              </a:ln>
              <a:solidFill>
                <a:srgbClr val="18243E">
                  <a:tint val="75000"/>
                </a:srgbClr>
              </a:solidFill>
              <a:effectLst/>
              <a:uLnTx/>
              <a:uFillTx/>
              <a:latin typeface="Inter"/>
              <a:ea typeface="+mn-ea"/>
              <a:cs typeface="+mn-cs"/>
            </a:endParaRPr>
          </a:p>
        </p:txBody>
      </p:sp>
      <p:sp>
        <p:nvSpPr>
          <p:cNvPr id="4" name="Espaço Reservado para Texto 4">
            <a:extLst>
              <a:ext uri="{FF2B5EF4-FFF2-40B4-BE49-F238E27FC236}">
                <a16:creationId xmlns:a16="http://schemas.microsoft.com/office/drawing/2014/main" id="{918053A7-D755-4E2C-4537-F5BC4A660577}"/>
              </a:ext>
            </a:extLst>
          </p:cNvPr>
          <p:cNvSpPr txBox="1">
            <a:spLocks/>
          </p:cNvSpPr>
          <p:nvPr/>
        </p:nvSpPr>
        <p:spPr>
          <a:xfrm>
            <a:off x="372541" y="239349"/>
            <a:ext cx="11073291" cy="1019182"/>
          </a:xfrm>
          <a:prstGeom prst="rect">
            <a:avLst/>
          </a:prstGeom>
          <a:noFill/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Calibri"/>
              </a:rPr>
              <a:t>REFERÊNCIAS 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01120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heme/theme1.xml><?xml version="1.0" encoding="utf-8"?>
<a:theme xmlns:a="http://schemas.openxmlformats.org/drawingml/2006/main" name="2_Tema de Office">
  <a:themeElements>
    <a:clrScheme name="SoEnergy">
      <a:dk1>
        <a:srgbClr val="18243E"/>
      </a:dk1>
      <a:lt1>
        <a:srgbClr val="FFFFFF"/>
      </a:lt1>
      <a:dk2>
        <a:srgbClr val="383838"/>
      </a:dk2>
      <a:lt2>
        <a:srgbClr val="E7E6E6"/>
      </a:lt2>
      <a:accent1>
        <a:srgbClr val="04AF9E"/>
      </a:accent1>
      <a:accent2>
        <a:srgbClr val="09B5D1"/>
      </a:accent2>
      <a:accent3>
        <a:srgbClr val="D9D9D9"/>
      </a:accent3>
      <a:accent4>
        <a:srgbClr val="FBB916"/>
      </a:accent4>
      <a:accent5>
        <a:srgbClr val="FFE957"/>
      </a:accent5>
      <a:accent6>
        <a:srgbClr val="14DCCB"/>
      </a:accent6>
      <a:hlink>
        <a:srgbClr val="FFE827"/>
      </a:hlink>
      <a:folHlink>
        <a:srgbClr val="18243E"/>
      </a:folHlink>
    </a:clrScheme>
    <a:fontScheme name="SoEnergy">
      <a:majorFont>
        <a:latin typeface="Inter ExtraBold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D3896D2371DF0246BF25803CA7D0F664" ma:contentTypeVersion="16" ma:contentTypeDescription="Crie um novo documento." ma:contentTypeScope="" ma:versionID="9c19ddf23877e0aa6db8db8ed8d2890d">
  <xsd:schema xmlns:xsd="http://www.w3.org/2001/XMLSchema" xmlns:xs="http://www.w3.org/2001/XMLSchema" xmlns:p="http://schemas.microsoft.com/office/2006/metadata/properties" xmlns:ns2="74855692-a236-48c8-be77-44d9df9ba5f9" xmlns:ns3="4234e7ed-ad2d-4fa4-ae09-66cee85cbcc4" targetNamespace="http://schemas.microsoft.com/office/2006/metadata/properties" ma:root="true" ma:fieldsID="03fd79c3156583e7700848407d201d88" ns2:_="" ns3:_="">
    <xsd:import namespace="74855692-a236-48c8-be77-44d9df9ba5f9"/>
    <xsd:import namespace="4234e7ed-ad2d-4fa4-ae09-66cee85cbcc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4855692-a236-48c8-be77-44d9df9ba5f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Marcações de imagem" ma:readOnly="false" ma:fieldId="{5cf76f15-5ced-4ddc-b409-7134ff3c332f}" ma:taxonomyMulti="true" ma:sspId="2c82aaf0-785d-4c91-9c12-569ebe702ed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dexed="true" ma:internalName="MediaServiceLocation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234e7ed-ad2d-4fa4-ae09-66cee85cbcc4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6a66e26d-638f-4fc2-a388-433e9162d00d}" ma:internalName="TaxCatchAll" ma:showField="CatchAllData" ma:web="4234e7ed-ad2d-4fa4-ae09-66cee85cbcc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Compartilhado com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Detalhes de Compartilhado Com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74855692-a236-48c8-be77-44d9df9ba5f9">
      <Terms xmlns="http://schemas.microsoft.com/office/infopath/2007/PartnerControls"/>
    </lcf76f155ced4ddcb4097134ff3c332f>
    <TaxCatchAll xmlns="4234e7ed-ad2d-4fa4-ae09-66cee85cbcc4" xsi:nil="true"/>
  </documentManagement>
</p:properties>
</file>

<file path=customXml/itemProps1.xml><?xml version="1.0" encoding="utf-8"?>
<ds:datastoreItem xmlns:ds="http://schemas.openxmlformats.org/officeDocument/2006/customXml" ds:itemID="{6CB7F157-DD25-495F-989B-B5810619306B}"/>
</file>

<file path=customXml/itemProps2.xml><?xml version="1.0" encoding="utf-8"?>
<ds:datastoreItem xmlns:ds="http://schemas.openxmlformats.org/officeDocument/2006/customXml" ds:itemID="{2DA65143-0038-45F0-9F7A-5D982061EFAC}"/>
</file>

<file path=customXml/itemProps3.xml><?xml version="1.0" encoding="utf-8"?>
<ds:datastoreItem xmlns:ds="http://schemas.openxmlformats.org/officeDocument/2006/customXml" ds:itemID="{CB47662C-E58C-4E03-BB7B-60D41E96AD25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482</TotalTime>
  <Words>544</Words>
  <Application>Microsoft Office PowerPoint</Application>
  <PresentationFormat>Widescreen</PresentationFormat>
  <Paragraphs>153</Paragraphs>
  <Slides>14</Slides>
  <Notes>5</Notes>
  <HiddenSlides>0</HiddenSlides>
  <MMClips>0</MMClips>
  <ScaleCrop>false</ScaleCrop>
  <HeadingPairs>
    <vt:vector size="6" baseType="variant">
      <vt:variant>
        <vt:lpstr>Fontes usadas</vt:lpstr>
      </vt:variant>
      <vt:variant>
        <vt:i4>12</vt:i4>
      </vt:variant>
      <vt:variant>
        <vt:lpstr>Tema</vt:lpstr>
      </vt:variant>
      <vt:variant>
        <vt:i4>1</vt:i4>
      </vt:variant>
      <vt:variant>
        <vt:lpstr>Títulos de slides</vt:lpstr>
      </vt:variant>
      <vt:variant>
        <vt:i4>14</vt:i4>
      </vt:variant>
    </vt:vector>
  </HeadingPairs>
  <TitlesOfParts>
    <vt:vector size="27" baseType="lpstr">
      <vt:lpstr>Arial</vt:lpstr>
      <vt:lpstr>Calibri</vt:lpstr>
      <vt:lpstr>Calibri Light</vt:lpstr>
      <vt:lpstr>Inter</vt:lpstr>
      <vt:lpstr>Inter Black</vt:lpstr>
      <vt:lpstr>Inter ExtraBold</vt:lpstr>
      <vt:lpstr>Inter Light</vt:lpstr>
      <vt:lpstr>Inter Medium Italic</vt:lpstr>
      <vt:lpstr>Inter SemiBold Italic</vt:lpstr>
      <vt:lpstr>MS Reference Sans Serif (Body)</vt:lpstr>
      <vt:lpstr>Segoe UI Light</vt:lpstr>
      <vt:lpstr>Wingdings</vt:lpstr>
      <vt:lpstr>2_Tema de Offic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Maria Lucia Bravo</dc:creator>
  <cp:lastModifiedBy>Luiz Felipe Carvalho - Br</cp:lastModifiedBy>
  <cp:revision>12</cp:revision>
  <dcterms:created xsi:type="dcterms:W3CDTF">2023-07-07T13:21:58Z</dcterms:created>
  <dcterms:modified xsi:type="dcterms:W3CDTF">2025-04-04T02:23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3896D2371DF0246BF25803CA7D0F664</vt:lpwstr>
  </property>
</Properties>
</file>